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</p:sldMasterIdLst>
  <p:notesMasterIdLst>
    <p:notesMasterId r:id="rId61"/>
  </p:notesMasterIdLst>
  <p:sldIdLst>
    <p:sldId id="349" r:id="rId2"/>
    <p:sldId id="257" r:id="rId3"/>
    <p:sldId id="351" r:id="rId4"/>
    <p:sldId id="299" r:id="rId5"/>
    <p:sldId id="301" r:id="rId6"/>
    <p:sldId id="300" r:id="rId7"/>
    <p:sldId id="303" r:id="rId8"/>
    <p:sldId id="304" r:id="rId9"/>
    <p:sldId id="302" r:id="rId10"/>
    <p:sldId id="305" r:id="rId11"/>
    <p:sldId id="306" r:id="rId12"/>
    <p:sldId id="307" r:id="rId13"/>
    <p:sldId id="308" r:id="rId14"/>
    <p:sldId id="309" r:id="rId15"/>
    <p:sldId id="310" r:id="rId16"/>
    <p:sldId id="352" r:id="rId17"/>
    <p:sldId id="311" r:id="rId18"/>
    <p:sldId id="312" r:id="rId19"/>
    <p:sldId id="313" r:id="rId20"/>
    <p:sldId id="314" r:id="rId21"/>
    <p:sldId id="315" r:id="rId22"/>
    <p:sldId id="348" r:id="rId23"/>
    <p:sldId id="316" r:id="rId24"/>
    <p:sldId id="317" r:id="rId25"/>
    <p:sldId id="319" r:id="rId26"/>
    <p:sldId id="318" r:id="rId27"/>
    <p:sldId id="320" r:id="rId28"/>
    <p:sldId id="321" r:id="rId29"/>
    <p:sldId id="325" r:id="rId30"/>
    <p:sldId id="326" r:id="rId31"/>
    <p:sldId id="323" r:id="rId32"/>
    <p:sldId id="324" r:id="rId33"/>
    <p:sldId id="322" r:id="rId34"/>
    <p:sldId id="327" r:id="rId35"/>
    <p:sldId id="328" r:id="rId36"/>
    <p:sldId id="346" r:id="rId37"/>
    <p:sldId id="329" r:id="rId38"/>
    <p:sldId id="331" r:id="rId39"/>
    <p:sldId id="330" r:id="rId40"/>
    <p:sldId id="332" r:id="rId41"/>
    <p:sldId id="333" r:id="rId42"/>
    <p:sldId id="273" r:id="rId43"/>
    <p:sldId id="334" r:id="rId44"/>
    <p:sldId id="335" r:id="rId45"/>
    <p:sldId id="336" r:id="rId46"/>
    <p:sldId id="337" r:id="rId47"/>
    <p:sldId id="338" r:id="rId48"/>
    <p:sldId id="339" r:id="rId49"/>
    <p:sldId id="340" r:id="rId50"/>
    <p:sldId id="341" r:id="rId51"/>
    <p:sldId id="342" r:id="rId52"/>
    <p:sldId id="344" r:id="rId53"/>
    <p:sldId id="343" r:id="rId54"/>
    <p:sldId id="345" r:id="rId55"/>
    <p:sldId id="347" r:id="rId56"/>
    <p:sldId id="281" r:id="rId57"/>
    <p:sldId id="293" r:id="rId58"/>
    <p:sldId id="298" r:id="rId59"/>
    <p:sldId id="353" r:id="rId60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8118"/>
    <a:srgbClr val="5B9BD5"/>
    <a:srgbClr val="00188F"/>
    <a:srgbClr val="00AEEF"/>
    <a:srgbClr val="0274B3"/>
    <a:srgbClr val="1882DB"/>
    <a:srgbClr val="FF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433609-519A-4E2D-B167-E5D138018839}" v="180" dt="2022-10-05T08:36:09.9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5" autoAdjust="0"/>
    <p:restoredTop sz="81559" autoAdjust="0"/>
  </p:normalViewPr>
  <p:slideViewPr>
    <p:cSldViewPr snapToGrid="0">
      <p:cViewPr varScale="1">
        <p:scale>
          <a:sx n="65" d="100"/>
          <a:sy n="65" d="100"/>
        </p:scale>
        <p:origin x="72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microsoft.com/office/2016/11/relationships/changesInfo" Target="changesInfos/changesInfo1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 Verbeeck" userId="24d0e79a7fd977da" providerId="LiveId" clId="{81433609-519A-4E2D-B167-E5D138018839}"/>
    <pc:docChg chg="undo redo custSel addSld delSld modSld sldOrd modMainMaster">
      <pc:chgData name="Koen Verbeeck" userId="24d0e79a7fd977da" providerId="LiveId" clId="{81433609-519A-4E2D-B167-E5D138018839}" dt="2022-10-05T08:36:12.055" v="1333" actId="478"/>
      <pc:docMkLst>
        <pc:docMk/>
      </pc:docMkLst>
      <pc:sldChg chg="modSp del">
        <pc:chgData name="Koen Verbeeck" userId="24d0e79a7fd977da" providerId="LiveId" clId="{81433609-519A-4E2D-B167-E5D138018839}" dt="2022-09-21T16:04:13.810" v="95" actId="47"/>
        <pc:sldMkLst>
          <pc:docMk/>
          <pc:sldMk cId="3714125683" sldId="256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714125683" sldId="256"/>
            <ac:spMk id="3" creationId="{FF9B7065-077D-4AB6-AD85-735651829BE5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2619988835" sldId="257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619988835" sldId="257"/>
            <ac:spMk id="4" creationId="{45E9CC81-A8F4-4439-A4CA-3ADB2CF4BCFD}"/>
          </ac:spMkLst>
        </pc:spChg>
      </pc:sldChg>
      <pc:sldChg chg="delSp modSp del mod chgLayout">
        <pc:chgData name="Koen Verbeeck" userId="24d0e79a7fd977da" providerId="LiveId" clId="{81433609-519A-4E2D-B167-E5D138018839}" dt="2022-09-21T16:05:28.636" v="157" actId="47"/>
        <pc:sldMkLst>
          <pc:docMk/>
          <pc:sldMk cId="2581095964" sldId="258"/>
        </pc:sldMkLst>
        <pc:spChg chg="del mod">
          <ac:chgData name="Koen Verbeeck" userId="24d0e79a7fd977da" providerId="LiveId" clId="{81433609-519A-4E2D-B167-E5D138018839}" dt="2022-09-21T16:04:30.323" v="96" actId="700"/>
          <ac:spMkLst>
            <pc:docMk/>
            <pc:sldMk cId="2581095964" sldId="258"/>
            <ac:spMk id="2" creationId="{886C56EA-9399-4995-A653-0489B3E35EDA}"/>
          </ac:spMkLst>
        </pc:spChg>
        <pc:spChg chg="mod ord">
          <ac:chgData name="Koen Verbeeck" userId="24d0e79a7fd977da" providerId="LiveId" clId="{81433609-519A-4E2D-B167-E5D138018839}" dt="2022-09-21T16:04:30.323" v="96" actId="700"/>
          <ac:spMkLst>
            <pc:docMk/>
            <pc:sldMk cId="2581095964" sldId="258"/>
            <ac:spMk id="3" creationId="{E30B25E8-65B9-4D76-ABEF-D4D1D4BC2928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810463862" sldId="273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810463862" sldId="273"/>
            <ac:spMk id="4" creationId="{2A00F838-93BD-46A0-9675-42AED121CE64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810463862" sldId="273"/>
            <ac:spMk id="5" creationId="{6E0D2489-6A42-4C2F-AC08-FE9B6654986E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448040946" sldId="281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448040946" sldId="281"/>
            <ac:spMk id="2" creationId="{397590CD-0F3D-4AE3-84F9-EF84109158D7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448040946" sldId="281"/>
            <ac:spMk id="3" creationId="{E30B25E8-65B9-4D76-ABEF-D4D1D4BC2928}"/>
          </ac:spMkLst>
        </pc:spChg>
      </pc:sldChg>
      <pc:sldChg chg="modSp mod">
        <pc:chgData name="Koen Verbeeck" userId="24d0e79a7fd977da" providerId="LiveId" clId="{81433609-519A-4E2D-B167-E5D138018839}" dt="2022-09-21T16:42:00.887" v="1167" actId="403"/>
        <pc:sldMkLst>
          <pc:docMk/>
          <pc:sldMk cId="172340278" sldId="293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72340278" sldId="293"/>
            <ac:spMk id="4" creationId="{0489F0C6-5408-4D92-AAE0-AB4F2660C0FF}"/>
          </ac:spMkLst>
        </pc:spChg>
        <pc:spChg chg="mod">
          <ac:chgData name="Koen Verbeeck" userId="24d0e79a7fd977da" providerId="LiveId" clId="{81433609-519A-4E2D-B167-E5D138018839}" dt="2022-09-21T16:42:00.887" v="1167" actId="403"/>
          <ac:spMkLst>
            <pc:docMk/>
            <pc:sldMk cId="172340278" sldId="293"/>
            <ac:spMk id="5" creationId="{0B780BED-E3D6-421F-9392-0C53B486B808}"/>
          </ac:spMkLst>
        </pc:spChg>
      </pc:sldChg>
      <pc:sldChg chg="modSp mod">
        <pc:chgData name="Koen Verbeeck" userId="24d0e79a7fd977da" providerId="LiveId" clId="{81433609-519A-4E2D-B167-E5D138018839}" dt="2022-09-21T16:52:24.070" v="1183" actId="1076"/>
        <pc:sldMkLst>
          <pc:docMk/>
          <pc:sldMk cId="3202223974" sldId="298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202223974" sldId="298"/>
            <ac:spMk id="2" creationId="{11589A62-D62C-44A7-A932-A8CFF61D689E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3202223974" sldId="298"/>
            <ac:spMk id="3" creationId="{15DBE023-91DF-46E4-8605-9B11981CD92D}"/>
          </ac:spMkLst>
        </pc:spChg>
        <pc:picChg chg="mod">
          <ac:chgData name="Koen Verbeeck" userId="24d0e79a7fd977da" providerId="LiveId" clId="{81433609-519A-4E2D-B167-E5D138018839}" dt="2022-09-21T16:52:20.025" v="1182" actId="1076"/>
          <ac:picMkLst>
            <pc:docMk/>
            <pc:sldMk cId="3202223974" sldId="298"/>
            <ac:picMk id="13" creationId="{88BE47CD-060F-64D5-ED4B-363D7AFAA1FB}"/>
          </ac:picMkLst>
        </pc:picChg>
        <pc:picChg chg="mod">
          <ac:chgData name="Koen Verbeeck" userId="24d0e79a7fd977da" providerId="LiveId" clId="{81433609-519A-4E2D-B167-E5D138018839}" dt="2022-09-21T16:52:24.070" v="1183" actId="1076"/>
          <ac:picMkLst>
            <pc:docMk/>
            <pc:sldMk cId="3202223974" sldId="298"/>
            <ac:picMk id="1026" creationId="{60D878C8-70C9-37D7-37F5-F5B6469DC77B}"/>
          </ac:picMkLst>
        </pc:picChg>
      </pc:sldChg>
      <pc:sldChg chg="modSp">
        <pc:chgData name="Koen Verbeeck" userId="24d0e79a7fd977da" providerId="LiveId" clId="{81433609-519A-4E2D-B167-E5D138018839}" dt="2022-09-21T16:05:58.842" v="158" actId="1076"/>
        <pc:sldMkLst>
          <pc:docMk/>
          <pc:sldMk cId="355487033" sldId="299"/>
        </pc:sldMkLst>
        <pc:picChg chg="mod">
          <ac:chgData name="Koen Verbeeck" userId="24d0e79a7fd977da" providerId="LiveId" clId="{81433609-519A-4E2D-B167-E5D138018839}" dt="2022-09-21T16:05:58.842" v="158" actId="1076"/>
          <ac:picMkLst>
            <pc:docMk/>
            <pc:sldMk cId="355487033" sldId="299"/>
            <ac:picMk id="4" creationId="{420A9BEF-07CD-6CC1-29FC-310C5EA1FAB1}"/>
          </ac:picMkLst>
        </pc:picChg>
      </pc:sldChg>
      <pc:sldChg chg="addSp modSp mod modAnim modNotesTx">
        <pc:chgData name="Koen Verbeeck" userId="24d0e79a7fd977da" providerId="LiveId" clId="{81433609-519A-4E2D-B167-E5D138018839}" dt="2022-09-21T16:33:30.657" v="1054" actId="313"/>
        <pc:sldMkLst>
          <pc:docMk/>
          <pc:sldMk cId="2689692252" sldId="300"/>
        </pc:sldMkLst>
        <pc:spChg chg="add mod">
          <ac:chgData name="Koen Verbeeck" userId="24d0e79a7fd977da" providerId="LiveId" clId="{81433609-519A-4E2D-B167-E5D138018839}" dt="2022-09-21T16:12:02.939" v="231" actId="1076"/>
          <ac:spMkLst>
            <pc:docMk/>
            <pc:sldMk cId="2689692252" sldId="300"/>
            <ac:spMk id="2" creationId="{2FF41F53-5DD5-3DB2-228C-6BDEDA625DC1}"/>
          </ac:spMkLst>
        </pc:spChg>
        <pc:spChg chg="add mod">
          <ac:chgData name="Koen Verbeeck" userId="24d0e79a7fd977da" providerId="LiveId" clId="{81433609-519A-4E2D-B167-E5D138018839}" dt="2022-09-21T16:12:12.270" v="233" actId="20577"/>
          <ac:spMkLst>
            <pc:docMk/>
            <pc:sldMk cId="2689692252" sldId="300"/>
            <ac:spMk id="3" creationId="{7556162B-796C-6422-8885-5F77C2DA368C}"/>
          </ac:spMkLst>
        </pc:spChg>
        <pc:spChg chg="add mod">
          <ac:chgData name="Koen Verbeeck" userId="24d0e79a7fd977da" providerId="LiveId" clId="{81433609-519A-4E2D-B167-E5D138018839}" dt="2022-09-21T16:12:24.221" v="237" actId="1076"/>
          <ac:spMkLst>
            <pc:docMk/>
            <pc:sldMk cId="2689692252" sldId="300"/>
            <ac:spMk id="4" creationId="{5B967B5D-148C-A1DE-10B1-237C51D766F6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2689692252" sldId="300"/>
            <ac:spMk id="6" creationId="{D381E69A-AC57-42AF-43B1-D29CEEE0E100}"/>
          </ac:spMkLst>
        </pc:spChg>
        <pc:spChg chg="add mod">
          <ac:chgData name="Koen Verbeeck" userId="24d0e79a7fd977da" providerId="LiveId" clId="{81433609-519A-4E2D-B167-E5D138018839}" dt="2022-09-21T16:12:35.501" v="240" actId="20577"/>
          <ac:spMkLst>
            <pc:docMk/>
            <pc:sldMk cId="2689692252" sldId="300"/>
            <ac:spMk id="8" creationId="{5F116575-88F8-042F-4697-95E67CF7B19B}"/>
          </ac:spMkLst>
        </pc:spChg>
        <pc:spChg chg="mod">
          <ac:chgData name="Koen Verbeeck" userId="24d0e79a7fd977da" providerId="LiveId" clId="{81433609-519A-4E2D-B167-E5D138018839}" dt="2022-09-21T16:09:12.004" v="216" actId="1076"/>
          <ac:spMkLst>
            <pc:docMk/>
            <pc:sldMk cId="2689692252" sldId="300"/>
            <ac:spMk id="19" creationId="{AFBC0A19-578F-5A33-0324-681B982BDA46}"/>
          </ac:spMkLst>
        </pc:spChg>
      </pc:sldChg>
      <pc:sldChg chg="delSp modSp mod">
        <pc:chgData name="Koen Verbeeck" userId="24d0e79a7fd977da" providerId="LiveId" clId="{81433609-519A-4E2D-B167-E5D138018839}" dt="2022-09-21T16:08:40.585" v="212" actId="1076"/>
        <pc:sldMkLst>
          <pc:docMk/>
          <pc:sldMk cId="2497667343" sldId="301"/>
        </pc:sldMkLst>
        <pc:spChg chg="del mod">
          <ac:chgData name="Koen Verbeeck" userId="24d0e79a7fd977da" providerId="LiveId" clId="{81433609-519A-4E2D-B167-E5D138018839}" dt="2022-09-21T16:08:23.440" v="205" actId="478"/>
          <ac:spMkLst>
            <pc:docMk/>
            <pc:sldMk cId="2497667343" sldId="301"/>
            <ac:spMk id="2" creationId="{2417C0DA-EE0B-488B-A560-7652B6555A2F}"/>
          </ac:spMkLst>
        </pc:spChg>
        <pc:spChg chg="mod">
          <ac:chgData name="Koen Verbeeck" userId="24d0e79a7fd977da" providerId="LiveId" clId="{81433609-519A-4E2D-B167-E5D138018839}" dt="2022-09-21T16:08:40.585" v="212" actId="1076"/>
          <ac:spMkLst>
            <pc:docMk/>
            <pc:sldMk cId="2497667343" sldId="301"/>
            <ac:spMk id="3" creationId="{E30B25E8-65B9-4D76-ABEF-D4D1D4BC2928}"/>
          </ac:spMkLst>
        </pc:spChg>
      </pc:sldChg>
      <pc:sldChg chg="modSp mod">
        <pc:chgData name="Koen Verbeeck" userId="24d0e79a7fd977da" providerId="LiveId" clId="{81433609-519A-4E2D-B167-E5D138018839}" dt="2022-09-21T16:15:06.054" v="253" actId="167"/>
        <pc:sldMkLst>
          <pc:docMk/>
          <pc:sldMk cId="3651962017" sldId="302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651962017" sldId="302"/>
            <ac:spMk id="2" creationId="{429909B6-E244-428C-E80D-C039BE431638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3651962017" sldId="302"/>
            <ac:spMk id="5" creationId="{44A2FF71-88DB-9638-01C4-B7A8DF833E5C}"/>
          </ac:spMkLst>
        </pc:spChg>
        <pc:spChg chg="mod">
          <ac:chgData name="Koen Verbeeck" userId="24d0e79a7fd977da" providerId="LiveId" clId="{81433609-519A-4E2D-B167-E5D138018839}" dt="2022-09-21T16:13:54.630" v="248" actId="14100"/>
          <ac:spMkLst>
            <pc:docMk/>
            <pc:sldMk cId="3651962017" sldId="302"/>
            <ac:spMk id="9" creationId="{5ADC59F5-2DA2-F538-1C25-CF6F637C2A48}"/>
          </ac:spMkLst>
        </pc:spChg>
        <pc:spChg chg="mod">
          <ac:chgData name="Koen Verbeeck" userId="24d0e79a7fd977da" providerId="LiveId" clId="{81433609-519A-4E2D-B167-E5D138018839}" dt="2022-09-21T16:13:45.381" v="247" actId="1076"/>
          <ac:spMkLst>
            <pc:docMk/>
            <pc:sldMk cId="3651962017" sldId="302"/>
            <ac:spMk id="10" creationId="{9A68C1E7-8A74-717C-6218-596C6D4200ED}"/>
          </ac:spMkLst>
        </pc:spChg>
        <pc:picChg chg="mod ord">
          <ac:chgData name="Koen Verbeeck" userId="24d0e79a7fd977da" providerId="LiveId" clId="{81433609-519A-4E2D-B167-E5D138018839}" dt="2022-09-21T16:15:06.054" v="253" actId="167"/>
          <ac:picMkLst>
            <pc:docMk/>
            <pc:sldMk cId="3651962017" sldId="302"/>
            <ac:picMk id="6" creationId="{F672239D-A9A7-55AD-9BC3-6252C5B3ECDF}"/>
          </ac:picMkLst>
        </pc:picChg>
      </pc:sldChg>
      <pc:sldChg chg="modSp mod">
        <pc:chgData name="Koen Verbeeck" userId="24d0e79a7fd977da" providerId="LiveId" clId="{81433609-519A-4E2D-B167-E5D138018839}" dt="2022-09-21T16:10:18.780" v="219" actId="403"/>
        <pc:sldMkLst>
          <pc:docMk/>
          <pc:sldMk cId="3446493260" sldId="303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446493260" sldId="303"/>
            <ac:spMk id="2" creationId="{CB1352B1-06E4-15A6-5558-B2D9EE7417A0}"/>
          </ac:spMkLst>
        </pc:spChg>
        <pc:spChg chg="mod">
          <ac:chgData name="Koen Verbeeck" userId="24d0e79a7fd977da" providerId="LiveId" clId="{81433609-519A-4E2D-B167-E5D138018839}" dt="2022-09-21T16:10:18.780" v="219" actId="403"/>
          <ac:spMkLst>
            <pc:docMk/>
            <pc:sldMk cId="3446493260" sldId="303"/>
            <ac:spMk id="3" creationId="{193BC870-5BCA-B907-924E-881728A96FD7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3081389428" sldId="304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081389428" sldId="304"/>
            <ac:spMk id="2" creationId="{2417C0DA-EE0B-488B-A560-7652B6555A2F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3081389428" sldId="304"/>
            <ac:spMk id="3" creationId="{E30B25E8-65B9-4D76-ABEF-D4D1D4BC2928}"/>
          </ac:spMkLst>
        </pc:spChg>
      </pc:sldChg>
      <pc:sldChg chg="delSp modSp mod">
        <pc:chgData name="Koen Verbeeck" userId="24d0e79a7fd977da" providerId="LiveId" clId="{81433609-519A-4E2D-B167-E5D138018839}" dt="2022-09-21T16:48:27.739" v="1169" actId="1076"/>
        <pc:sldMkLst>
          <pc:docMk/>
          <pc:sldMk cId="2733902760" sldId="305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733902760" sldId="305"/>
            <ac:spMk id="2" creationId="{EEA0555E-6C4E-B62B-6C5B-1A5511E56B7E}"/>
          </ac:spMkLst>
        </pc:spChg>
        <pc:spChg chg="del mod">
          <ac:chgData name="Koen Verbeeck" userId="24d0e79a7fd977da" providerId="LiveId" clId="{81433609-519A-4E2D-B167-E5D138018839}" dt="2022-09-21T16:48:23.089" v="1168" actId="478"/>
          <ac:spMkLst>
            <pc:docMk/>
            <pc:sldMk cId="2733902760" sldId="305"/>
            <ac:spMk id="3" creationId="{896F9C62-3F98-DF67-1B32-68358B694F57}"/>
          </ac:spMkLst>
        </pc:spChg>
        <pc:spChg chg="mod">
          <ac:chgData name="Koen Verbeeck" userId="24d0e79a7fd977da" providerId="LiveId" clId="{81433609-519A-4E2D-B167-E5D138018839}" dt="2022-09-21T16:48:27.739" v="1169" actId="1076"/>
          <ac:spMkLst>
            <pc:docMk/>
            <pc:sldMk cId="2733902760" sldId="305"/>
            <ac:spMk id="5" creationId="{09D77AAD-402A-8BBF-8A65-2FA7C426044C}"/>
          </ac:spMkLst>
        </pc:spChg>
        <pc:spChg chg="mod">
          <ac:chgData name="Koen Verbeeck" userId="24d0e79a7fd977da" providerId="LiveId" clId="{81433609-519A-4E2D-B167-E5D138018839}" dt="2022-09-21T16:48:27.739" v="1169" actId="1076"/>
          <ac:spMkLst>
            <pc:docMk/>
            <pc:sldMk cId="2733902760" sldId="305"/>
            <ac:spMk id="6" creationId="{1A65BB09-4E26-65E4-FAEA-F9DEDF04C22A}"/>
          </ac:spMkLst>
        </pc:spChg>
        <pc:picChg chg="mod">
          <ac:chgData name="Koen Verbeeck" userId="24d0e79a7fd977da" providerId="LiveId" clId="{81433609-519A-4E2D-B167-E5D138018839}" dt="2022-09-21T16:48:27.739" v="1169" actId="1076"/>
          <ac:picMkLst>
            <pc:docMk/>
            <pc:sldMk cId="2733902760" sldId="305"/>
            <ac:picMk id="7" creationId="{72BC430B-9E47-6792-0A5E-9286DD778CF1}"/>
          </ac:picMkLst>
        </pc:picChg>
        <pc:cxnChg chg="mod">
          <ac:chgData name="Koen Verbeeck" userId="24d0e79a7fd977da" providerId="LiveId" clId="{81433609-519A-4E2D-B167-E5D138018839}" dt="2022-09-21T16:48:27.739" v="1169" actId="1076"/>
          <ac:cxnSpMkLst>
            <pc:docMk/>
            <pc:sldMk cId="2733902760" sldId="305"/>
            <ac:cxnSpMk id="4" creationId="{A2E88A11-F4C7-2282-FBB4-3F2F3937D5A8}"/>
          </ac:cxnSpMkLst>
        </pc:cxnChg>
      </pc:sldChg>
      <pc:sldChg chg="modSp modNotesTx">
        <pc:chgData name="Koen Verbeeck" userId="24d0e79a7fd977da" providerId="LiveId" clId="{81433609-519A-4E2D-B167-E5D138018839}" dt="2022-09-21T16:17:17.649" v="312" actId="20577"/>
        <pc:sldMkLst>
          <pc:docMk/>
          <pc:sldMk cId="606872221" sldId="306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606872221" sldId="306"/>
            <ac:spMk id="2" creationId="{EEA0555E-6C4E-B62B-6C5B-1A5511E56B7E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606872221" sldId="306"/>
            <ac:spMk id="3" creationId="{896F9C62-3F98-DF67-1B32-68358B694F57}"/>
          </ac:spMkLst>
        </pc:spChg>
        <pc:picChg chg="mod">
          <ac:chgData name="Koen Verbeeck" userId="24d0e79a7fd977da" providerId="LiveId" clId="{81433609-519A-4E2D-B167-E5D138018839}" dt="2022-09-21T16:14:26.737" v="250" actId="14100"/>
          <ac:picMkLst>
            <pc:docMk/>
            <pc:sldMk cId="606872221" sldId="306"/>
            <ac:picMk id="2052" creationId="{4CF41661-64C8-6B83-8625-152D182FA687}"/>
          </ac:picMkLst>
        </pc:picChg>
      </pc:sldChg>
      <pc:sldChg chg="modSp mod">
        <pc:chgData name="Koen Verbeeck" userId="24d0e79a7fd977da" providerId="LiveId" clId="{81433609-519A-4E2D-B167-E5D138018839}" dt="2022-09-21T16:16:11.551" v="254" actId="1076"/>
        <pc:sldMkLst>
          <pc:docMk/>
          <pc:sldMk cId="615961628" sldId="307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615961628" sldId="307"/>
            <ac:spMk id="2" creationId="{EAD8459C-B8B6-25EA-CDF8-A58546AA1BA2}"/>
          </ac:spMkLst>
        </pc:spChg>
        <pc:spChg chg="mod">
          <ac:chgData name="Koen Verbeeck" userId="24d0e79a7fd977da" providerId="LiveId" clId="{81433609-519A-4E2D-B167-E5D138018839}" dt="2022-09-21T16:16:11.551" v="254" actId="1076"/>
          <ac:spMkLst>
            <pc:docMk/>
            <pc:sldMk cId="615961628" sldId="307"/>
            <ac:spMk id="4" creationId="{D7A16EDC-4176-DAEA-2288-C288499AA14A}"/>
          </ac:spMkLst>
        </pc:spChg>
      </pc:sldChg>
      <pc:sldChg chg="modSp mod modShow">
        <pc:chgData name="Koen Verbeeck" userId="24d0e79a7fd977da" providerId="LiveId" clId="{81433609-519A-4E2D-B167-E5D138018839}" dt="2022-10-02T13:06:06.628" v="1190" actId="729"/>
        <pc:sldMkLst>
          <pc:docMk/>
          <pc:sldMk cId="2123177924" sldId="308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123177924" sldId="308"/>
            <ac:spMk id="2" creationId="{EA318CA6-3960-241C-4E58-DEFDBA6B361A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2035289214" sldId="309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035289214" sldId="309"/>
            <ac:spMk id="2" creationId="{2417C0DA-EE0B-488B-A560-7652B6555A2F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2035289214" sldId="309"/>
            <ac:spMk id="3" creationId="{E30B25E8-65B9-4D76-ABEF-D4D1D4BC2928}"/>
          </ac:spMkLst>
        </pc:spChg>
      </pc:sldChg>
      <pc:sldChg chg="modSp mod">
        <pc:chgData name="Koen Verbeeck" userId="24d0e79a7fd977da" providerId="LiveId" clId="{81433609-519A-4E2D-B167-E5D138018839}" dt="2022-09-21T16:17:40.398" v="315" actId="1076"/>
        <pc:sldMkLst>
          <pc:docMk/>
          <pc:sldMk cId="1565848071" sldId="310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565848071" sldId="310"/>
            <ac:spMk id="4" creationId="{88A3AD19-8730-64DD-A335-FDDFA3EDCA92}"/>
          </ac:spMkLst>
        </pc:spChg>
        <pc:spChg chg="mod">
          <ac:chgData name="Koen Verbeeck" userId="24d0e79a7fd977da" providerId="LiveId" clId="{81433609-519A-4E2D-B167-E5D138018839}" dt="2022-09-21T16:17:40.398" v="315" actId="1076"/>
          <ac:spMkLst>
            <pc:docMk/>
            <pc:sldMk cId="1565848071" sldId="310"/>
            <ac:spMk id="8" creationId="{A2B165CA-EEA5-1F6C-05CC-831491439725}"/>
          </ac:spMkLst>
        </pc:spChg>
        <pc:picChg chg="mod">
          <ac:chgData name="Koen Verbeeck" userId="24d0e79a7fd977da" providerId="LiveId" clId="{81433609-519A-4E2D-B167-E5D138018839}" dt="2022-09-21T16:17:40.398" v="315" actId="1076"/>
          <ac:picMkLst>
            <pc:docMk/>
            <pc:sldMk cId="1565848071" sldId="310"/>
            <ac:picMk id="7" creationId="{CE0B1AE2-E356-8DDE-B700-D8F2BD56521C}"/>
          </ac:picMkLst>
        </pc:pic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49065258" sldId="311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49065258" sldId="311"/>
            <ac:spMk id="2" creationId="{2417C0DA-EE0B-488B-A560-7652B6555A2F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49065258" sldId="311"/>
            <ac:spMk id="3" creationId="{E30B25E8-65B9-4D76-ABEF-D4D1D4BC2928}"/>
          </ac:spMkLst>
        </pc:spChg>
      </pc:sldChg>
      <pc:sldChg chg="modSp mod modAnim">
        <pc:chgData name="Koen Verbeeck" userId="24d0e79a7fd977da" providerId="LiveId" clId="{81433609-519A-4E2D-B167-E5D138018839}" dt="2022-10-02T13:09:30.071" v="1241"/>
        <pc:sldMkLst>
          <pc:docMk/>
          <pc:sldMk cId="3858109269" sldId="312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858109269" sldId="312"/>
            <ac:spMk id="4" creationId="{611B39A9-E5CB-A5E7-0EA3-661991833D96}"/>
          </ac:spMkLst>
        </pc:spChg>
        <pc:spChg chg="mod">
          <ac:chgData name="Koen Verbeeck" userId="24d0e79a7fd977da" providerId="LiveId" clId="{81433609-519A-4E2D-B167-E5D138018839}" dt="2022-09-21T16:18:33.653" v="361" actId="27636"/>
          <ac:spMkLst>
            <pc:docMk/>
            <pc:sldMk cId="3858109269" sldId="312"/>
            <ac:spMk id="5" creationId="{A6FF93DD-7CC7-CBFE-9064-C4BA763C72DD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786654260" sldId="313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786654260" sldId="313"/>
            <ac:spMk id="2" creationId="{2417C0DA-EE0B-488B-A560-7652B6555A2F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786654260" sldId="313"/>
            <ac:spMk id="3" creationId="{E30B25E8-65B9-4D76-ABEF-D4D1D4BC2928}"/>
          </ac:spMkLst>
        </pc:spChg>
      </pc:sldChg>
      <pc:sldChg chg="modSp mod">
        <pc:chgData name="Koen Verbeeck" userId="24d0e79a7fd977da" providerId="LiveId" clId="{81433609-519A-4E2D-B167-E5D138018839}" dt="2022-09-21T16:19:08.690" v="368" actId="14100"/>
        <pc:sldMkLst>
          <pc:docMk/>
          <pc:sldMk cId="2467810675" sldId="314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467810675" sldId="314"/>
            <ac:spMk id="4" creationId="{E72FD9BE-AE9B-EF9A-7DD4-2396B68EEDE5}"/>
          </ac:spMkLst>
        </pc:spChg>
        <pc:spChg chg="mod">
          <ac:chgData name="Koen Verbeeck" userId="24d0e79a7fd977da" providerId="LiveId" clId="{81433609-519A-4E2D-B167-E5D138018839}" dt="2022-09-21T16:19:08.690" v="368" actId="14100"/>
          <ac:spMkLst>
            <pc:docMk/>
            <pc:sldMk cId="2467810675" sldId="314"/>
            <ac:spMk id="8" creationId="{C851255B-BCF2-01F5-D4C0-1E27F0A9E85B}"/>
          </ac:spMkLst>
        </pc:spChg>
        <pc:spChg chg="mod">
          <ac:chgData name="Koen Verbeeck" userId="24d0e79a7fd977da" providerId="LiveId" clId="{81433609-519A-4E2D-B167-E5D138018839}" dt="2022-09-21T16:18:59.114" v="364" actId="14100"/>
          <ac:spMkLst>
            <pc:docMk/>
            <pc:sldMk cId="2467810675" sldId="314"/>
            <ac:spMk id="11" creationId="{47EBCBF6-8DB2-84BC-278B-939DC3182EFF}"/>
          </ac:spMkLst>
        </pc:spChg>
      </pc:sldChg>
      <pc:sldChg chg="modSp mod modAnim">
        <pc:chgData name="Koen Verbeeck" userId="24d0e79a7fd977da" providerId="LiveId" clId="{81433609-519A-4E2D-B167-E5D138018839}" dt="2022-10-03T07:26:06.750" v="1319" actId="20577"/>
        <pc:sldMkLst>
          <pc:docMk/>
          <pc:sldMk cId="3720567714" sldId="315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720567714" sldId="315"/>
            <ac:spMk id="2" creationId="{5424DEDC-6005-8902-BB88-EE71D15E14A0}"/>
          </ac:spMkLst>
        </pc:spChg>
        <pc:spChg chg="mod">
          <ac:chgData name="Koen Verbeeck" userId="24d0e79a7fd977da" providerId="LiveId" clId="{81433609-519A-4E2D-B167-E5D138018839}" dt="2022-10-03T07:26:06.750" v="1319" actId="20577"/>
          <ac:spMkLst>
            <pc:docMk/>
            <pc:sldMk cId="3720567714" sldId="315"/>
            <ac:spMk id="3" creationId="{18ACD4C3-C857-7EE2-BE8E-338DA5DC3B11}"/>
          </ac:spMkLst>
        </pc:spChg>
      </pc:sldChg>
      <pc:sldChg chg="delSp modSp mod">
        <pc:chgData name="Koen Verbeeck" userId="24d0e79a7fd977da" providerId="LiveId" clId="{81433609-519A-4E2D-B167-E5D138018839}" dt="2022-09-21T16:29:34.234" v="706" actId="1076"/>
        <pc:sldMkLst>
          <pc:docMk/>
          <pc:sldMk cId="1585285854" sldId="316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585285854" sldId="316"/>
            <ac:spMk id="2" creationId="{80A248D6-14F9-D074-A6B6-57EC1F42C0FA}"/>
          </ac:spMkLst>
        </pc:spChg>
        <pc:spChg chg="del mod">
          <ac:chgData name="Koen Verbeeck" userId="24d0e79a7fd977da" providerId="LiveId" clId="{81433609-519A-4E2D-B167-E5D138018839}" dt="2022-09-21T16:28:43.231" v="684" actId="478"/>
          <ac:spMkLst>
            <pc:docMk/>
            <pc:sldMk cId="1585285854" sldId="316"/>
            <ac:spMk id="3" creationId="{03D3E87E-77C5-580E-D368-EF4AA3573D5B}"/>
          </ac:spMkLst>
        </pc:spChg>
        <pc:spChg chg="mod">
          <ac:chgData name="Koen Verbeeck" userId="24d0e79a7fd977da" providerId="LiveId" clId="{81433609-519A-4E2D-B167-E5D138018839}" dt="2022-09-21T16:29:27.283" v="700" actId="14100"/>
          <ac:spMkLst>
            <pc:docMk/>
            <pc:sldMk cId="1585285854" sldId="316"/>
            <ac:spMk id="6" creationId="{F3BB2248-A3DD-54CE-DC4C-A5FB04314A82}"/>
          </ac:spMkLst>
        </pc:spChg>
        <pc:spChg chg="mod">
          <ac:chgData name="Koen Verbeeck" userId="24d0e79a7fd977da" providerId="LiveId" clId="{81433609-519A-4E2D-B167-E5D138018839}" dt="2022-09-21T16:29:29.933" v="705" actId="1036"/>
          <ac:spMkLst>
            <pc:docMk/>
            <pc:sldMk cId="1585285854" sldId="316"/>
            <ac:spMk id="7" creationId="{18A068AC-D576-B95E-1E48-C30382788266}"/>
          </ac:spMkLst>
        </pc:spChg>
        <pc:spChg chg="mod">
          <ac:chgData name="Koen Verbeeck" userId="24d0e79a7fd977da" providerId="LiveId" clId="{81433609-519A-4E2D-B167-E5D138018839}" dt="2022-09-21T16:29:34.234" v="706" actId="1076"/>
          <ac:spMkLst>
            <pc:docMk/>
            <pc:sldMk cId="1585285854" sldId="316"/>
            <ac:spMk id="8" creationId="{A30EE78E-503E-B24B-98FD-B7512456B565}"/>
          </ac:spMkLst>
        </pc:spChg>
        <pc:picChg chg="mod">
          <ac:chgData name="Koen Verbeeck" userId="24d0e79a7fd977da" providerId="LiveId" clId="{81433609-519A-4E2D-B167-E5D138018839}" dt="2022-09-21T16:28:49.371" v="687" actId="1076"/>
          <ac:picMkLst>
            <pc:docMk/>
            <pc:sldMk cId="1585285854" sldId="316"/>
            <ac:picMk id="4" creationId="{51ECBA10-4D54-3305-7922-3867BBDF7BC8}"/>
          </ac:picMkLst>
        </pc:picChg>
        <pc:picChg chg="mod">
          <ac:chgData name="Koen Verbeeck" userId="24d0e79a7fd977da" providerId="LiveId" clId="{81433609-519A-4E2D-B167-E5D138018839}" dt="2022-09-21T16:29:09.070" v="695" actId="1076"/>
          <ac:picMkLst>
            <pc:docMk/>
            <pc:sldMk cId="1585285854" sldId="316"/>
            <ac:picMk id="5" creationId="{1C4A10A7-EEC8-3E8F-E914-1B8BBE015252}"/>
          </ac:picMkLst>
        </pc:pic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939657860" sldId="317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939657860" sldId="317"/>
            <ac:spMk id="2" creationId="{2417C0DA-EE0B-488B-A560-7652B6555A2F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939657860" sldId="317"/>
            <ac:spMk id="3" creationId="{E30B25E8-65B9-4D76-ABEF-D4D1D4BC2928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3326213283" sldId="318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326213283" sldId="318"/>
            <ac:spMk id="4" creationId="{5495E799-F4BC-5774-42C7-639BA3E1470C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3326213283" sldId="318"/>
            <ac:spMk id="5" creationId="{0E5793E7-8073-4123-C1E3-86607700E68A}"/>
          </ac:spMkLst>
        </pc:spChg>
      </pc:sldChg>
      <pc:sldChg chg="modSp mod modShow">
        <pc:chgData name="Koen Verbeeck" userId="24d0e79a7fd977da" providerId="LiveId" clId="{81433609-519A-4E2D-B167-E5D138018839}" dt="2022-09-21T16:29:53.136" v="707" actId="729"/>
        <pc:sldMkLst>
          <pc:docMk/>
          <pc:sldMk cId="824920966" sldId="319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824920966" sldId="319"/>
            <ac:spMk id="2" creationId="{2417C0DA-EE0B-488B-A560-7652B6555A2F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70243385" sldId="320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70243385" sldId="320"/>
            <ac:spMk id="2" creationId="{B399F3A1-6181-2853-AE15-AD25C88085E6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70243385" sldId="320"/>
            <ac:spMk id="3" creationId="{9045C276-D66D-19CE-2544-A0AC3D9771FF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142056289" sldId="321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142056289" sldId="321"/>
            <ac:spMk id="2" creationId="{E808A672-DC0C-3B5B-520B-6701540B8FD8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142056289" sldId="321"/>
            <ac:spMk id="3" creationId="{41E9AD33-9342-99AB-A500-124EE26D7D85}"/>
          </ac:spMkLst>
        </pc:spChg>
      </pc:sldChg>
      <pc:sldChg chg="modSp">
        <pc:chgData name="Koen Verbeeck" userId="24d0e79a7fd977da" providerId="LiveId" clId="{81433609-519A-4E2D-B167-E5D138018839}" dt="2022-09-21T16:30:50.588" v="709" actId="403"/>
        <pc:sldMkLst>
          <pc:docMk/>
          <pc:sldMk cId="536667126" sldId="322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536667126" sldId="322"/>
            <ac:spMk id="2" creationId="{DD75CB23-9F29-1CA7-E491-4D0CA33895A3}"/>
          </ac:spMkLst>
        </pc:spChg>
        <pc:spChg chg="mod">
          <ac:chgData name="Koen Verbeeck" userId="24d0e79a7fd977da" providerId="LiveId" clId="{81433609-519A-4E2D-B167-E5D138018839}" dt="2022-09-21T16:30:50.588" v="709" actId="403"/>
          <ac:spMkLst>
            <pc:docMk/>
            <pc:sldMk cId="536667126" sldId="322"/>
            <ac:spMk id="3" creationId="{5BA94376-0669-EB9D-E760-4FF421B6894D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162137226" sldId="323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162137226" sldId="323"/>
            <ac:spMk id="2" creationId="{2417C0DA-EE0B-488B-A560-7652B6555A2F}"/>
          </ac:spMkLst>
        </pc:spChg>
      </pc:sldChg>
      <pc:sldChg chg="modSp mod">
        <pc:chgData name="Koen Verbeeck" userId="24d0e79a7fd977da" providerId="LiveId" clId="{81433609-519A-4E2D-B167-E5D138018839}" dt="2022-09-21T16:30:15.581" v="708" actId="1076"/>
        <pc:sldMkLst>
          <pc:docMk/>
          <pc:sldMk cId="926685474" sldId="324"/>
        </pc:sldMkLst>
        <pc:spChg chg="mod">
          <ac:chgData name="Koen Verbeeck" userId="24d0e79a7fd977da" providerId="LiveId" clId="{81433609-519A-4E2D-B167-E5D138018839}" dt="2022-09-21T16:30:15.581" v="708" actId="1076"/>
          <ac:spMkLst>
            <pc:docMk/>
            <pc:sldMk cId="926685474" sldId="324"/>
            <ac:spMk id="3" creationId="{E30B25E8-65B9-4D76-ABEF-D4D1D4BC2928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3103896491" sldId="325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103896491" sldId="325"/>
            <ac:spMk id="2" creationId="{9877AE74-8FE1-D810-981F-D428160E2879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3103896491" sldId="325"/>
            <ac:spMk id="3" creationId="{EC3B6A1C-D24B-9B67-BAD0-74979EBF14BB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3526730446" sldId="326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526730446" sldId="326"/>
            <ac:spMk id="2" creationId="{90D0D58B-0173-1381-E712-5DB1A2D73807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3526730446" sldId="326"/>
            <ac:spMk id="3" creationId="{9CF69413-FF91-7975-65BD-8BE60B4953FC}"/>
          </ac:spMkLst>
        </pc:spChg>
      </pc:sldChg>
      <pc:sldChg chg="modSp">
        <pc:chgData name="Koen Verbeeck" userId="24d0e79a7fd977da" providerId="LiveId" clId="{81433609-519A-4E2D-B167-E5D138018839}" dt="2022-09-21T16:30:55.495" v="710" actId="403"/>
        <pc:sldMkLst>
          <pc:docMk/>
          <pc:sldMk cId="2200187692" sldId="327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200187692" sldId="327"/>
            <ac:spMk id="2" creationId="{C1F78BF5-4E6E-1BCB-045E-5A8673622239}"/>
          </ac:spMkLst>
        </pc:spChg>
        <pc:spChg chg="mod">
          <ac:chgData name="Koen Verbeeck" userId="24d0e79a7fd977da" providerId="LiveId" clId="{81433609-519A-4E2D-B167-E5D138018839}" dt="2022-09-21T16:30:55.495" v="710" actId="403"/>
          <ac:spMkLst>
            <pc:docMk/>
            <pc:sldMk cId="2200187692" sldId="327"/>
            <ac:spMk id="3" creationId="{FB635AC9-348E-5D84-9745-0B2510E4D559}"/>
          </ac:spMkLst>
        </pc:spChg>
      </pc:sldChg>
      <pc:sldChg chg="modSp mod">
        <pc:chgData name="Koen Verbeeck" userId="24d0e79a7fd977da" providerId="LiveId" clId="{81433609-519A-4E2D-B167-E5D138018839}" dt="2022-09-21T16:31:19.859" v="715" actId="6549"/>
        <pc:sldMkLst>
          <pc:docMk/>
          <pc:sldMk cId="3016251086" sldId="328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016251086" sldId="328"/>
            <ac:spMk id="2" creationId="{72EB5B80-277F-993D-B962-4D0323B4BB89}"/>
          </ac:spMkLst>
        </pc:spChg>
        <pc:spChg chg="mod">
          <ac:chgData name="Koen Verbeeck" userId="24d0e79a7fd977da" providerId="LiveId" clId="{81433609-519A-4E2D-B167-E5D138018839}" dt="2022-09-21T16:31:19.859" v="715" actId="6549"/>
          <ac:spMkLst>
            <pc:docMk/>
            <pc:sldMk cId="3016251086" sldId="328"/>
            <ac:spMk id="3" creationId="{21333BC2-2B10-7D51-67F0-EF318035F112}"/>
          </ac:spMkLst>
        </pc:spChg>
      </pc:sldChg>
      <pc:sldChg chg="modSp mod">
        <pc:chgData name="Koen Verbeeck" userId="24d0e79a7fd977da" providerId="LiveId" clId="{81433609-519A-4E2D-B167-E5D138018839}" dt="2022-09-21T16:32:19.181" v="773" actId="20577"/>
        <pc:sldMkLst>
          <pc:docMk/>
          <pc:sldMk cId="2137931469" sldId="329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137931469" sldId="329"/>
            <ac:spMk id="2" creationId="{1AD649F1-CDC4-C870-0633-D60A1B379A9A}"/>
          </ac:spMkLst>
        </pc:spChg>
        <pc:spChg chg="mod">
          <ac:chgData name="Koen Verbeeck" userId="24d0e79a7fd977da" providerId="LiveId" clId="{81433609-519A-4E2D-B167-E5D138018839}" dt="2022-09-21T16:32:19.181" v="773" actId="20577"/>
          <ac:spMkLst>
            <pc:docMk/>
            <pc:sldMk cId="2137931469" sldId="329"/>
            <ac:spMk id="3" creationId="{A99CB235-6558-6EFF-AB9B-C25AB32EE4A5}"/>
          </ac:spMkLst>
        </pc:spChg>
      </pc:sldChg>
      <pc:sldChg chg="addSp modSp mod modAnim">
        <pc:chgData name="Koen Verbeeck" userId="24d0e79a7fd977da" providerId="LiveId" clId="{81433609-519A-4E2D-B167-E5D138018839}" dt="2022-10-02T13:16:28.984" v="1276"/>
        <pc:sldMkLst>
          <pc:docMk/>
          <pc:sldMk cId="3933532517" sldId="330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933532517" sldId="330"/>
            <ac:spMk id="2" creationId="{65716BC4-19AC-DF79-E056-76845695F144}"/>
          </ac:spMkLst>
        </pc:spChg>
        <pc:spChg chg="mod">
          <ac:chgData name="Koen Verbeeck" userId="24d0e79a7fd977da" providerId="LiveId" clId="{81433609-519A-4E2D-B167-E5D138018839}" dt="2022-10-02T13:16:01.850" v="1270" actId="6549"/>
          <ac:spMkLst>
            <pc:docMk/>
            <pc:sldMk cId="3933532517" sldId="330"/>
            <ac:spMk id="3" creationId="{7A56FA6F-DC9A-6B82-96A7-E02AB9DBEC59}"/>
          </ac:spMkLst>
        </pc:spChg>
        <pc:picChg chg="add mod">
          <ac:chgData name="Koen Verbeeck" userId="24d0e79a7fd977da" providerId="LiveId" clId="{81433609-519A-4E2D-B167-E5D138018839}" dt="2022-10-02T13:12:59.844" v="1247" actId="14100"/>
          <ac:picMkLst>
            <pc:docMk/>
            <pc:sldMk cId="3933532517" sldId="330"/>
            <ac:picMk id="5" creationId="{AF8C79C2-0E2B-CF51-EB39-F4A974DDEF75}"/>
          </ac:picMkLst>
        </pc:picChg>
        <pc:picChg chg="add mod">
          <ac:chgData name="Koen Verbeeck" userId="24d0e79a7fd977da" providerId="LiveId" clId="{81433609-519A-4E2D-B167-E5D138018839}" dt="2022-10-02T13:15:38.743" v="1250" actId="14100"/>
          <ac:picMkLst>
            <pc:docMk/>
            <pc:sldMk cId="3933532517" sldId="330"/>
            <ac:picMk id="7" creationId="{B8E58834-FAC6-EE34-2EF7-34920ACC26E2}"/>
          </ac:picMkLst>
        </pc:pic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032303435" sldId="331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032303435" sldId="331"/>
            <ac:spMk id="2" creationId="{2417C0DA-EE0B-488B-A560-7652B6555A2F}"/>
          </ac:spMkLst>
        </pc:spChg>
      </pc:sldChg>
      <pc:sldChg chg="modSp mod">
        <pc:chgData name="Koen Verbeeck" userId="24d0e79a7fd977da" providerId="LiveId" clId="{81433609-519A-4E2D-B167-E5D138018839}" dt="2022-09-21T16:34:53.783" v="1067" actId="14100"/>
        <pc:sldMkLst>
          <pc:docMk/>
          <pc:sldMk cId="288707219" sldId="332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88707219" sldId="332"/>
            <ac:spMk id="2" creationId="{65716BC4-19AC-DF79-E056-76845695F144}"/>
          </ac:spMkLst>
        </pc:spChg>
        <pc:spChg chg="mod">
          <ac:chgData name="Koen Verbeeck" userId="24d0e79a7fd977da" providerId="LiveId" clId="{81433609-519A-4E2D-B167-E5D138018839}" dt="2022-09-21T16:34:47.311" v="1066" actId="20577"/>
          <ac:spMkLst>
            <pc:docMk/>
            <pc:sldMk cId="288707219" sldId="332"/>
            <ac:spMk id="3" creationId="{7A56FA6F-DC9A-6B82-96A7-E02AB9DBEC59}"/>
          </ac:spMkLst>
        </pc:spChg>
        <pc:picChg chg="mod">
          <ac:chgData name="Koen Verbeeck" userId="24d0e79a7fd977da" providerId="LiveId" clId="{81433609-519A-4E2D-B167-E5D138018839}" dt="2022-09-21T16:34:53.783" v="1067" actId="14100"/>
          <ac:picMkLst>
            <pc:docMk/>
            <pc:sldMk cId="288707219" sldId="332"/>
            <ac:picMk id="4" creationId="{3EEE29C8-1389-60BE-E618-2768BD0AF0CF}"/>
          </ac:picMkLst>
        </pc:picChg>
      </pc:sldChg>
      <pc:sldChg chg="modSp mod modAnim">
        <pc:chgData name="Koen Verbeeck" userId="24d0e79a7fd977da" providerId="LiveId" clId="{81433609-519A-4E2D-B167-E5D138018839}" dt="2022-10-02T13:19:26.224" v="1278" actId="27636"/>
        <pc:sldMkLst>
          <pc:docMk/>
          <pc:sldMk cId="177951187" sldId="333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77951187" sldId="333"/>
            <ac:spMk id="2" creationId="{3AA0797C-04BB-1331-C658-4777B1990949}"/>
          </ac:spMkLst>
        </pc:spChg>
        <pc:spChg chg="mod">
          <ac:chgData name="Koen Verbeeck" userId="24d0e79a7fd977da" providerId="LiveId" clId="{81433609-519A-4E2D-B167-E5D138018839}" dt="2022-10-02T13:19:26.224" v="1278" actId="27636"/>
          <ac:spMkLst>
            <pc:docMk/>
            <pc:sldMk cId="177951187" sldId="333"/>
            <ac:spMk id="3" creationId="{91232B59-7E8B-ED36-5E20-20C9F05F7B0B}"/>
          </ac:spMkLst>
        </pc:spChg>
        <pc:spChg chg="mod">
          <ac:chgData name="Koen Verbeeck" userId="24d0e79a7fd977da" providerId="LiveId" clId="{81433609-519A-4E2D-B167-E5D138018839}" dt="2022-09-21T16:35:06.798" v="1068" actId="1076"/>
          <ac:spMkLst>
            <pc:docMk/>
            <pc:sldMk cId="177951187" sldId="333"/>
            <ac:spMk id="4" creationId="{A2CEA1AE-5274-0405-B5AD-AE2F00CDF2A4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3366595245" sldId="334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366595245" sldId="334"/>
            <ac:spMk id="2" creationId="{2417C0DA-EE0B-488B-A560-7652B6555A2F}"/>
          </ac:spMkLst>
        </pc:spChg>
      </pc:sldChg>
      <pc:sldChg chg="modSp">
        <pc:chgData name="Koen Verbeeck" userId="24d0e79a7fd977da" providerId="LiveId" clId="{81433609-519A-4E2D-B167-E5D138018839}" dt="2022-09-21T16:39:51.427" v="1136" actId="1076"/>
        <pc:sldMkLst>
          <pc:docMk/>
          <pc:sldMk cId="211727673" sldId="335"/>
        </pc:sldMkLst>
        <pc:picChg chg="mod">
          <ac:chgData name="Koen Verbeeck" userId="24d0e79a7fd977da" providerId="LiveId" clId="{81433609-519A-4E2D-B167-E5D138018839}" dt="2022-09-21T16:39:51.427" v="1136" actId="1076"/>
          <ac:picMkLst>
            <pc:docMk/>
            <pc:sldMk cId="211727673" sldId="335"/>
            <ac:picMk id="4098" creationId="{DA1D34F8-905B-D369-B7A5-F42A9E6A79A0}"/>
          </ac:picMkLst>
        </pc:pic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134878512" sldId="336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134878512" sldId="336"/>
            <ac:spMk id="4" creationId="{094FEC09-6193-C411-AA74-9BBCA9AF0829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134878512" sldId="336"/>
            <ac:spMk id="5" creationId="{E688A7F8-8A63-C1D3-6DE8-C348BD6E0FE3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47163143" sldId="337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47163143" sldId="337"/>
            <ac:spMk id="2" creationId="{A0BF7B53-AFDD-5296-032C-6A03897448C7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47163143" sldId="337"/>
            <ac:spMk id="3" creationId="{62F33530-AC31-DF28-0EFC-88C4405FFA1F}"/>
          </ac:spMkLst>
        </pc:spChg>
      </pc:sldChg>
      <pc:sldChg chg="modSp mod">
        <pc:chgData name="Koen Verbeeck" userId="24d0e79a7fd977da" providerId="LiveId" clId="{81433609-519A-4E2D-B167-E5D138018839}" dt="2022-10-02T12:49:10.141" v="1189" actId="20577"/>
        <pc:sldMkLst>
          <pc:docMk/>
          <pc:sldMk cId="556543932" sldId="338"/>
        </pc:sldMkLst>
        <pc:spChg chg="mod">
          <ac:chgData name="Koen Verbeeck" userId="24d0e79a7fd977da" providerId="LiveId" clId="{81433609-519A-4E2D-B167-E5D138018839}" dt="2022-09-21T16:40:16.566" v="1138"/>
          <ac:spMkLst>
            <pc:docMk/>
            <pc:sldMk cId="556543932" sldId="338"/>
            <ac:spMk id="2" creationId="{79AF7894-8162-3B2B-AC62-3A4B5B0ACF12}"/>
          </ac:spMkLst>
        </pc:spChg>
        <pc:spChg chg="mod">
          <ac:chgData name="Koen Verbeeck" userId="24d0e79a7fd977da" providerId="LiveId" clId="{81433609-519A-4E2D-B167-E5D138018839}" dt="2022-10-02T12:49:10.141" v="1189" actId="20577"/>
          <ac:spMkLst>
            <pc:docMk/>
            <pc:sldMk cId="556543932" sldId="338"/>
            <ac:spMk id="3" creationId="{6510D406-E622-6B54-EB8F-F96C5AE655F9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3950230007" sldId="339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950230007" sldId="339"/>
            <ac:spMk id="2" creationId="{0096CCCF-AA86-A880-6671-F306C3311ADE}"/>
          </ac:spMkLst>
        </pc:sp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144226698" sldId="340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44226698" sldId="340"/>
            <ac:spMk id="2" creationId="{5B450D98-72BD-2390-01AC-80FEC7911D73}"/>
          </ac:spMkLst>
        </pc:spChg>
      </pc:sldChg>
      <pc:sldChg chg="addSp modSp mod">
        <pc:chgData name="Koen Verbeeck" userId="24d0e79a7fd977da" providerId="LiveId" clId="{81433609-519A-4E2D-B167-E5D138018839}" dt="2022-09-21T16:50:59.587" v="1176" actId="1076"/>
        <pc:sldMkLst>
          <pc:docMk/>
          <pc:sldMk cId="1169429183" sldId="341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1169429183" sldId="341"/>
            <ac:spMk id="2" creationId="{C6069FD9-E970-9E44-B666-D429651CF49D}"/>
          </ac:spMkLst>
        </pc:spChg>
        <pc:spChg chg="mod">
          <ac:chgData name="Koen Verbeeck" userId="24d0e79a7fd977da" providerId="LiveId" clId="{81433609-519A-4E2D-B167-E5D138018839}" dt="2022-09-21T16:50:09.754" v="1172" actId="14100"/>
          <ac:spMkLst>
            <pc:docMk/>
            <pc:sldMk cId="1169429183" sldId="341"/>
            <ac:spMk id="42" creationId="{68B76E7B-20B7-126A-ADED-3B671DCF2D2E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1169429183" sldId="341"/>
            <ac:spMk id="45" creationId="{B1F81340-D474-9FE7-EDD9-165A754A3FCC}"/>
          </ac:spMkLst>
        </pc:spChg>
        <pc:spChg chg="add mod">
          <ac:chgData name="Koen Verbeeck" userId="24d0e79a7fd977da" providerId="LiveId" clId="{81433609-519A-4E2D-B167-E5D138018839}" dt="2022-09-21T16:50:59.587" v="1176" actId="1076"/>
          <ac:spMkLst>
            <pc:docMk/>
            <pc:sldMk cId="1169429183" sldId="341"/>
            <ac:spMk id="46" creationId="{5FB305BA-142F-5E1F-003A-20D860E999EA}"/>
          </ac:spMkLst>
        </pc:spChg>
      </pc:sldChg>
      <pc:sldChg chg="modSp modAnim">
        <pc:chgData name="Koen Verbeeck" userId="24d0e79a7fd977da" providerId="LiveId" clId="{81433609-519A-4E2D-B167-E5D138018839}" dt="2022-09-21T16:41:00.523" v="1160" actId="20577"/>
        <pc:sldMkLst>
          <pc:docMk/>
          <pc:sldMk cId="3292407943" sldId="342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292407943" sldId="342"/>
            <ac:spMk id="2" creationId="{AA98226C-19F0-E970-29A3-A1B811B235AC}"/>
          </ac:spMkLst>
        </pc:spChg>
        <pc:spChg chg="mod">
          <ac:chgData name="Koen Verbeeck" userId="24d0e79a7fd977da" providerId="LiveId" clId="{81433609-519A-4E2D-B167-E5D138018839}" dt="2022-09-21T16:41:00.523" v="1160" actId="20577"/>
          <ac:spMkLst>
            <pc:docMk/>
            <pc:sldMk cId="3292407943" sldId="342"/>
            <ac:spMk id="3" creationId="{50CC48F0-C1A8-2C82-69DF-EB9BB38F9B9A}"/>
          </ac:spMkLst>
        </pc:spChg>
      </pc:sldChg>
      <pc:sldChg chg="modSp mod modAnim">
        <pc:chgData name="Koen Verbeeck" userId="24d0e79a7fd977da" providerId="LiveId" clId="{81433609-519A-4E2D-B167-E5D138018839}" dt="2022-09-21T16:41:21.765" v="1165" actId="20577"/>
        <pc:sldMkLst>
          <pc:docMk/>
          <pc:sldMk cId="733886771" sldId="343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733886771" sldId="343"/>
            <ac:spMk id="2" creationId="{AA98226C-19F0-E970-29A3-A1B811B235AC}"/>
          </ac:spMkLst>
        </pc:spChg>
        <pc:spChg chg="mod">
          <ac:chgData name="Koen Verbeeck" userId="24d0e79a7fd977da" providerId="LiveId" clId="{81433609-519A-4E2D-B167-E5D138018839}" dt="2022-09-21T16:41:21.765" v="1165" actId="20577"/>
          <ac:spMkLst>
            <pc:docMk/>
            <pc:sldMk cId="733886771" sldId="343"/>
            <ac:spMk id="3" creationId="{50CC48F0-C1A8-2C82-69DF-EB9BB38F9B9A}"/>
          </ac:spMkLst>
        </pc:spChg>
      </pc:sldChg>
      <pc:sldChg chg="modSp modAnim">
        <pc:chgData name="Koen Verbeeck" userId="24d0e79a7fd977da" providerId="LiveId" clId="{81433609-519A-4E2D-B167-E5D138018839}" dt="2022-09-21T16:41:08.525" v="1162" actId="20577"/>
        <pc:sldMkLst>
          <pc:docMk/>
          <pc:sldMk cId="259305039" sldId="344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59305039" sldId="344"/>
            <ac:spMk id="2" creationId="{AA98226C-19F0-E970-29A3-A1B811B235AC}"/>
          </ac:spMkLst>
        </pc:spChg>
        <pc:spChg chg="mod">
          <ac:chgData name="Koen Verbeeck" userId="24d0e79a7fd977da" providerId="LiveId" clId="{81433609-519A-4E2D-B167-E5D138018839}" dt="2022-09-21T16:41:08.525" v="1162" actId="20577"/>
          <ac:spMkLst>
            <pc:docMk/>
            <pc:sldMk cId="259305039" sldId="344"/>
            <ac:spMk id="3" creationId="{50CC48F0-C1A8-2C82-69DF-EB9BB38F9B9A}"/>
          </ac:spMkLst>
        </pc:spChg>
      </pc:sldChg>
      <pc:sldChg chg="modSp mod">
        <pc:chgData name="Koen Verbeeck" userId="24d0e79a7fd977da" providerId="LiveId" clId="{81433609-519A-4E2D-B167-E5D138018839}" dt="2022-09-21T16:41:28.017" v="1166" actId="403"/>
        <pc:sldMkLst>
          <pc:docMk/>
          <pc:sldMk cId="825424281" sldId="345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825424281" sldId="345"/>
            <ac:spMk id="2" creationId="{57F8073C-D49C-D826-15E9-655D3E278521}"/>
          </ac:spMkLst>
        </pc:spChg>
        <pc:spChg chg="mod">
          <ac:chgData name="Koen Verbeeck" userId="24d0e79a7fd977da" providerId="LiveId" clId="{81433609-519A-4E2D-B167-E5D138018839}" dt="2022-09-21T16:41:28.017" v="1166" actId="403"/>
          <ac:spMkLst>
            <pc:docMk/>
            <pc:sldMk cId="825424281" sldId="345"/>
            <ac:spMk id="3" creationId="{126900BE-C197-A9B1-2FEC-6615A63A422A}"/>
          </ac:spMkLst>
        </pc:spChg>
      </pc:sldChg>
      <pc:sldChg chg="modSp mod">
        <pc:chgData name="Koen Verbeeck" userId="24d0e79a7fd977da" providerId="LiveId" clId="{81433609-519A-4E2D-B167-E5D138018839}" dt="2022-09-21T16:31:41.745" v="718" actId="1076"/>
        <pc:sldMkLst>
          <pc:docMk/>
          <pc:sldMk cId="961305912" sldId="346"/>
        </pc:sldMkLst>
        <pc:spChg chg="mod">
          <ac:chgData name="Koen Verbeeck" userId="24d0e79a7fd977da" providerId="LiveId" clId="{81433609-519A-4E2D-B167-E5D138018839}" dt="2022-09-21T16:31:41.745" v="718" actId="1076"/>
          <ac:spMkLst>
            <pc:docMk/>
            <pc:sldMk cId="961305912" sldId="346"/>
            <ac:spMk id="7" creationId="{7E9BFDD3-93D4-EB69-0505-8721D5FDFB10}"/>
          </ac:spMkLst>
        </pc:spChg>
        <pc:picChg chg="mod">
          <ac:chgData name="Koen Verbeeck" userId="24d0e79a7fd977da" providerId="LiveId" clId="{81433609-519A-4E2D-B167-E5D138018839}" dt="2022-09-21T16:31:41.745" v="718" actId="1076"/>
          <ac:picMkLst>
            <pc:docMk/>
            <pc:sldMk cId="961305912" sldId="346"/>
            <ac:picMk id="5" creationId="{1349EB0E-0692-5DA2-70D9-2D75A67480B7}"/>
          </ac:picMkLst>
        </pc:picChg>
      </pc:sldChg>
      <pc:sldChg chg="modSp">
        <pc:chgData name="Koen Verbeeck" userId="24d0e79a7fd977da" providerId="LiveId" clId="{81433609-519A-4E2D-B167-E5D138018839}" dt="2022-09-21T16:03:08.509" v="0"/>
        <pc:sldMkLst>
          <pc:docMk/>
          <pc:sldMk cId="2996330111" sldId="347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2996330111" sldId="347"/>
            <ac:spMk id="4" creationId="{2A00F838-93BD-46A0-9675-42AED121CE64}"/>
          </ac:spMkLst>
        </pc:spChg>
        <pc:spChg chg="mod">
          <ac:chgData name="Koen Verbeeck" userId="24d0e79a7fd977da" providerId="LiveId" clId="{81433609-519A-4E2D-B167-E5D138018839}" dt="2022-09-21T16:03:08.509" v="0"/>
          <ac:spMkLst>
            <pc:docMk/>
            <pc:sldMk cId="2996330111" sldId="347"/>
            <ac:spMk id="5" creationId="{6E0D2489-6A42-4C2F-AC08-FE9B6654986E}"/>
          </ac:spMkLst>
        </pc:spChg>
      </pc:sldChg>
      <pc:sldChg chg="modSp mod">
        <pc:chgData name="Koen Verbeeck" userId="24d0e79a7fd977da" providerId="LiveId" clId="{81433609-519A-4E2D-B167-E5D138018839}" dt="2022-09-21T16:49:02.138" v="1171" actId="1076"/>
        <pc:sldMkLst>
          <pc:docMk/>
          <pc:sldMk cId="395879265" sldId="348"/>
        </pc:sldMkLst>
        <pc:spChg chg="mod">
          <ac:chgData name="Koen Verbeeck" userId="24d0e79a7fd977da" providerId="LiveId" clId="{81433609-519A-4E2D-B167-E5D138018839}" dt="2022-09-21T16:03:08.509" v="0"/>
          <ac:spMkLst>
            <pc:docMk/>
            <pc:sldMk cId="395879265" sldId="348"/>
            <ac:spMk id="2" creationId="{96C5BD80-5EAF-7066-86CD-572832BC4FE7}"/>
          </ac:spMkLst>
        </pc:spChg>
        <pc:spChg chg="mod">
          <ac:chgData name="Koen Verbeeck" userId="24d0e79a7fd977da" providerId="LiveId" clId="{81433609-519A-4E2D-B167-E5D138018839}" dt="2022-09-21T16:25:55.652" v="683" actId="20577"/>
          <ac:spMkLst>
            <pc:docMk/>
            <pc:sldMk cId="395879265" sldId="348"/>
            <ac:spMk id="3" creationId="{47164E58-5964-ABE9-76E7-3D9CE7C35398}"/>
          </ac:spMkLst>
        </pc:spChg>
        <pc:picChg chg="mod">
          <ac:chgData name="Koen Verbeeck" userId="24d0e79a7fd977da" providerId="LiveId" clId="{81433609-519A-4E2D-B167-E5D138018839}" dt="2022-09-21T16:49:02.138" v="1171" actId="1076"/>
          <ac:picMkLst>
            <pc:docMk/>
            <pc:sldMk cId="395879265" sldId="348"/>
            <ac:picMk id="1026" creationId="{5838E6FE-3551-CF2E-0A72-61BE64F04044}"/>
          </ac:picMkLst>
        </pc:picChg>
      </pc:sldChg>
      <pc:sldChg chg="addSp delSp modSp new mod modClrScheme chgLayout">
        <pc:chgData name="Koen Verbeeck" userId="24d0e79a7fd977da" providerId="LiveId" clId="{81433609-519A-4E2D-B167-E5D138018839}" dt="2022-09-21T16:04:08.807" v="94" actId="27636"/>
        <pc:sldMkLst>
          <pc:docMk/>
          <pc:sldMk cId="1948512730" sldId="349"/>
        </pc:sldMkLst>
        <pc:spChg chg="del mod ord">
          <ac:chgData name="Koen Verbeeck" userId="24d0e79a7fd977da" providerId="LiveId" clId="{81433609-519A-4E2D-B167-E5D138018839}" dt="2022-09-21T16:03:20.915" v="5" actId="700"/>
          <ac:spMkLst>
            <pc:docMk/>
            <pc:sldMk cId="1948512730" sldId="349"/>
            <ac:spMk id="2" creationId="{AD175E39-836D-C4B5-AAE7-2F7BC41A426D}"/>
          </ac:spMkLst>
        </pc:spChg>
        <pc:spChg chg="del mod ord">
          <ac:chgData name="Koen Verbeeck" userId="24d0e79a7fd977da" providerId="LiveId" clId="{81433609-519A-4E2D-B167-E5D138018839}" dt="2022-09-21T16:03:20.915" v="5" actId="700"/>
          <ac:spMkLst>
            <pc:docMk/>
            <pc:sldMk cId="1948512730" sldId="349"/>
            <ac:spMk id="3" creationId="{8D63D8A7-4F2B-C762-201E-44C7267D7F8A}"/>
          </ac:spMkLst>
        </pc:spChg>
        <pc:spChg chg="add mod ord">
          <ac:chgData name="Koen Verbeeck" userId="24d0e79a7fd977da" providerId="LiveId" clId="{81433609-519A-4E2D-B167-E5D138018839}" dt="2022-09-21T16:03:37.237" v="35" actId="14100"/>
          <ac:spMkLst>
            <pc:docMk/>
            <pc:sldMk cId="1948512730" sldId="349"/>
            <ac:spMk id="4" creationId="{DD05956B-27F8-17FB-23F9-FD84EAA20178}"/>
          </ac:spMkLst>
        </pc:spChg>
        <pc:spChg chg="add mod ord">
          <ac:chgData name="Koen Verbeeck" userId="24d0e79a7fd977da" providerId="LiveId" clId="{81433609-519A-4E2D-B167-E5D138018839}" dt="2022-09-21T16:04:08.807" v="94" actId="27636"/>
          <ac:spMkLst>
            <pc:docMk/>
            <pc:sldMk cId="1948512730" sldId="349"/>
            <ac:spMk id="5" creationId="{3BC2D90E-5AD4-BDA1-28A2-87D24A3402A5}"/>
          </ac:spMkLst>
        </pc:spChg>
      </pc:sldChg>
      <pc:sldChg chg="addSp delSp modSp new del mod modClrScheme chgLayout">
        <pc:chgData name="Koen Verbeeck" userId="24d0e79a7fd977da" providerId="LiveId" clId="{81433609-519A-4E2D-B167-E5D138018839}" dt="2022-09-21T16:08:15.882" v="204" actId="47"/>
        <pc:sldMkLst>
          <pc:docMk/>
          <pc:sldMk cId="96177849" sldId="350"/>
        </pc:sldMkLst>
        <pc:spChg chg="del">
          <ac:chgData name="Koen Verbeeck" userId="24d0e79a7fd977da" providerId="LiveId" clId="{81433609-519A-4E2D-B167-E5D138018839}" dt="2022-09-21T16:04:54.348" v="98" actId="700"/>
          <ac:spMkLst>
            <pc:docMk/>
            <pc:sldMk cId="96177849" sldId="350"/>
            <ac:spMk id="2" creationId="{D097BBBF-64D2-DC85-5121-0846CFCA285B}"/>
          </ac:spMkLst>
        </pc:spChg>
        <pc:spChg chg="add mod">
          <ac:chgData name="Koen Verbeeck" userId="24d0e79a7fd977da" providerId="LiveId" clId="{81433609-519A-4E2D-B167-E5D138018839}" dt="2022-09-21T16:05:23.339" v="156" actId="207"/>
          <ac:spMkLst>
            <pc:docMk/>
            <pc:sldMk cId="96177849" sldId="350"/>
            <ac:spMk id="3" creationId="{24B35AB4-86EE-2240-723B-BB2F3CD2E8CB}"/>
          </ac:spMkLst>
        </pc:spChg>
      </pc:sldChg>
      <pc:sldChg chg="delSp modSp add mod ord">
        <pc:chgData name="Koen Verbeeck" userId="24d0e79a7fd977da" providerId="LiveId" clId="{81433609-519A-4E2D-B167-E5D138018839}" dt="2022-09-21T16:06:35.481" v="203" actId="1076"/>
        <pc:sldMkLst>
          <pc:docMk/>
          <pc:sldMk cId="2287233618" sldId="351"/>
        </pc:sldMkLst>
        <pc:spChg chg="del">
          <ac:chgData name="Koen Verbeeck" userId="24d0e79a7fd977da" providerId="LiveId" clId="{81433609-519A-4E2D-B167-E5D138018839}" dt="2022-09-21T16:06:30.568" v="202" actId="478"/>
          <ac:spMkLst>
            <pc:docMk/>
            <pc:sldMk cId="2287233618" sldId="351"/>
            <ac:spMk id="2" creationId="{2417C0DA-EE0B-488B-A560-7652B6555A2F}"/>
          </ac:spMkLst>
        </pc:spChg>
        <pc:spChg chg="mod">
          <ac:chgData name="Koen Verbeeck" userId="24d0e79a7fd977da" providerId="LiveId" clId="{81433609-519A-4E2D-B167-E5D138018839}" dt="2022-09-21T16:06:35.481" v="203" actId="1076"/>
          <ac:spMkLst>
            <pc:docMk/>
            <pc:sldMk cId="2287233618" sldId="351"/>
            <ac:spMk id="3" creationId="{E30B25E8-65B9-4D76-ABEF-D4D1D4BC2928}"/>
          </ac:spMkLst>
        </pc:spChg>
      </pc:sldChg>
      <pc:sldChg chg="addSp delSp modSp add mod modNotesTx">
        <pc:chgData name="Koen Verbeeck" userId="24d0e79a7fd977da" providerId="LiveId" clId="{81433609-519A-4E2D-B167-E5D138018839}" dt="2022-10-02T13:07:45.950" v="1237" actId="20577"/>
        <pc:sldMkLst>
          <pc:docMk/>
          <pc:sldMk cId="3243975669" sldId="352"/>
        </pc:sldMkLst>
        <pc:spChg chg="mod">
          <ac:chgData name="Koen Verbeeck" userId="24d0e79a7fd977da" providerId="LiveId" clId="{81433609-519A-4E2D-B167-E5D138018839}" dt="2022-10-02T13:06:38.044" v="1208" actId="313"/>
          <ac:spMkLst>
            <pc:docMk/>
            <pc:sldMk cId="3243975669" sldId="352"/>
            <ac:spMk id="4" creationId="{88A3AD19-8730-64DD-A335-FDDFA3EDCA92}"/>
          </ac:spMkLst>
        </pc:spChg>
        <pc:spChg chg="del">
          <ac:chgData name="Koen Verbeeck" userId="24d0e79a7fd977da" providerId="LiveId" clId="{81433609-519A-4E2D-B167-E5D138018839}" dt="2022-10-02T13:06:42.570" v="1210" actId="478"/>
          <ac:spMkLst>
            <pc:docMk/>
            <pc:sldMk cId="3243975669" sldId="352"/>
            <ac:spMk id="8" creationId="{A2B165CA-EEA5-1F6C-05CC-831491439725}"/>
          </ac:spMkLst>
        </pc:spChg>
        <pc:picChg chg="add mod">
          <ac:chgData name="Koen Verbeeck" userId="24d0e79a7fd977da" providerId="LiveId" clId="{81433609-519A-4E2D-B167-E5D138018839}" dt="2022-10-02T13:07:36.093" v="1214" actId="1076"/>
          <ac:picMkLst>
            <pc:docMk/>
            <pc:sldMk cId="3243975669" sldId="352"/>
            <ac:picMk id="3" creationId="{7CF8547B-F6EE-6F66-1CE3-C78B22F259DE}"/>
          </ac:picMkLst>
        </pc:picChg>
        <pc:picChg chg="del">
          <ac:chgData name="Koen Verbeeck" userId="24d0e79a7fd977da" providerId="LiveId" clId="{81433609-519A-4E2D-B167-E5D138018839}" dt="2022-10-02T13:06:40.054" v="1209" actId="478"/>
          <ac:picMkLst>
            <pc:docMk/>
            <pc:sldMk cId="3243975669" sldId="352"/>
            <ac:picMk id="7" creationId="{CE0B1AE2-E356-8DDE-B700-D8F2BD56521C}"/>
          </ac:picMkLst>
        </pc:picChg>
      </pc:sldChg>
      <pc:sldChg chg="addSp delSp modSp new mod">
        <pc:chgData name="Koen Verbeeck" userId="24d0e79a7fd977da" providerId="LiveId" clId="{81433609-519A-4E2D-B167-E5D138018839}" dt="2022-10-05T08:36:12.055" v="1333" actId="478"/>
        <pc:sldMkLst>
          <pc:docMk/>
          <pc:sldMk cId="4215293357" sldId="353"/>
        </pc:sldMkLst>
        <pc:spChg chg="mod">
          <ac:chgData name="Koen Verbeeck" userId="24d0e79a7fd977da" providerId="LiveId" clId="{81433609-519A-4E2D-B167-E5D138018839}" dt="2022-10-05T08:35:54.795" v="1329" actId="20577"/>
          <ac:spMkLst>
            <pc:docMk/>
            <pc:sldMk cId="4215293357" sldId="353"/>
            <ac:spMk id="2" creationId="{DDEBAC37-E045-B8D9-7C0D-A60B2919A061}"/>
          </ac:spMkLst>
        </pc:spChg>
        <pc:spChg chg="del">
          <ac:chgData name="Koen Verbeeck" userId="24d0e79a7fd977da" providerId="LiveId" clId="{81433609-519A-4E2D-B167-E5D138018839}" dt="2022-10-05T08:36:12.055" v="1333" actId="478"/>
          <ac:spMkLst>
            <pc:docMk/>
            <pc:sldMk cId="4215293357" sldId="353"/>
            <ac:spMk id="3" creationId="{B59033CC-EFDD-63BC-A778-9DCF36668600}"/>
          </ac:spMkLst>
        </pc:spChg>
        <pc:picChg chg="add mod">
          <ac:chgData name="Koen Verbeeck" userId="24d0e79a7fd977da" providerId="LiveId" clId="{81433609-519A-4E2D-B167-E5D138018839}" dt="2022-10-05T08:36:09.942" v="1332" actId="1076"/>
          <ac:picMkLst>
            <pc:docMk/>
            <pc:sldMk cId="4215293357" sldId="353"/>
            <ac:picMk id="1026" creationId="{433CCFE1-64A5-6BAA-1E1A-9B298BAADDD6}"/>
          </ac:picMkLst>
        </pc:picChg>
      </pc:sldChg>
      <pc:sldMasterChg chg="modSldLayout">
        <pc:chgData name="Koen Verbeeck" userId="24d0e79a7fd977da" providerId="LiveId" clId="{81433609-519A-4E2D-B167-E5D138018839}" dt="2022-09-21T16:03:08.509" v="0"/>
        <pc:sldMasterMkLst>
          <pc:docMk/>
          <pc:sldMasterMk cId="417043945" sldId="2147483713"/>
        </pc:sldMasterMkLst>
        <pc:sldLayoutChg chg="delSp">
          <pc:chgData name="Koen Verbeeck" userId="24d0e79a7fd977da" providerId="LiveId" clId="{81433609-519A-4E2D-B167-E5D138018839}" dt="2022-09-21T16:03:08.509" v="0"/>
          <pc:sldLayoutMkLst>
            <pc:docMk/>
            <pc:sldMasterMk cId="417043945" sldId="2147483713"/>
            <pc:sldLayoutMk cId="3190378444" sldId="2147483753"/>
          </pc:sldLayoutMkLst>
          <pc:spChg chg="del">
            <ac:chgData name="Koen Verbeeck" userId="24d0e79a7fd977da" providerId="LiveId" clId="{81433609-519A-4E2D-B167-E5D138018839}" dt="2022-09-21T16:03:08.509" v="0"/>
            <ac:spMkLst>
              <pc:docMk/>
              <pc:sldMasterMk cId="417043945" sldId="2147483713"/>
              <pc:sldLayoutMk cId="3190378444" sldId="2147483753"/>
              <ac:spMk id="7" creationId="{00000000-0000-0000-0000-000000000000}"/>
            </ac:spMkLst>
          </pc:spChg>
        </pc:sldLayoutChg>
        <pc:sldLayoutChg chg="delSp">
          <pc:chgData name="Koen Verbeeck" userId="24d0e79a7fd977da" providerId="LiveId" clId="{81433609-519A-4E2D-B167-E5D138018839}" dt="2022-09-21T16:03:08.509" v="0"/>
          <pc:sldLayoutMkLst>
            <pc:docMk/>
            <pc:sldMasterMk cId="417043945" sldId="2147483713"/>
            <pc:sldLayoutMk cId="2359038465" sldId="2147483754"/>
          </pc:sldLayoutMkLst>
          <pc:spChg chg="del">
            <ac:chgData name="Koen Verbeeck" userId="24d0e79a7fd977da" providerId="LiveId" clId="{81433609-519A-4E2D-B167-E5D138018839}" dt="2022-09-21T16:03:08.509" v="0"/>
            <ac:spMkLst>
              <pc:docMk/>
              <pc:sldMasterMk cId="417043945" sldId="2147483713"/>
              <pc:sldLayoutMk cId="2359038465" sldId="2147483754"/>
              <ac:spMk id="6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DEA963-AF5C-4EB7-8FE2-1FD5571E2257}" type="datetimeFigureOut">
              <a:rPr lang="nl-BE" smtClean="0"/>
              <a:t>2/10/2022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1ADB2-3E75-4B32-B675-A1D4DB512286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28342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oal of this session:</a:t>
            </a:r>
            <a:br>
              <a:rPr lang="en-US" dirty="0"/>
            </a:br>
            <a:r>
              <a:rPr lang="en-US" dirty="0"/>
              <a:t>sort of a </a:t>
            </a:r>
            <a:r>
              <a:rPr lang="en-US" dirty="0" err="1"/>
              <a:t>braindump</a:t>
            </a:r>
            <a:r>
              <a:rPr lang="en-US" dirty="0"/>
              <a:t> of all my tuning knowledge amassed over the years.</a:t>
            </a:r>
            <a:br>
              <a:rPr lang="en-US" dirty="0"/>
            </a:br>
            <a:r>
              <a:rPr lang="en-US" dirty="0"/>
              <a:t>Like mentoring a junior on their first weeks and mentioning “this is some stuff you need to take into account…”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81143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cus is on SELEC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3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717251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3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02968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4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69795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BE" dirty="0"/>
              <a:t>Cursor </a:t>
            </a:r>
            <a:r>
              <a:rPr lang="nl-BE" dirty="0" err="1"/>
              <a:t>vs</a:t>
            </a:r>
            <a:r>
              <a:rPr lang="nl-BE" dirty="0"/>
              <a:t> </a:t>
            </a:r>
            <a:r>
              <a:rPr lang="nl-BE" dirty="0" err="1"/>
              <a:t>window</a:t>
            </a:r>
            <a:r>
              <a:rPr lang="nl-BE" dirty="0"/>
              <a:t> </a:t>
            </a:r>
            <a:r>
              <a:rPr lang="nl-BE" dirty="0" err="1"/>
              <a:t>function</a:t>
            </a:r>
            <a:endParaRPr lang="nl-B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BE" dirty="0"/>
              <a:t>UDF</a:t>
            </a: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4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321819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cus is on SELEC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4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562811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4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893412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5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226242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5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895312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SARGable</a:t>
            </a:r>
            <a:r>
              <a:rPr lang="en-US" dirty="0"/>
              <a:t> qu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BE" dirty="0"/>
              <a:t>Covering index</a:t>
            </a:r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5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206099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5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99077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ump the data in a staging table and write some SQL dammit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1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62061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ery similar to SSIS.</a:t>
            </a:r>
            <a:br>
              <a:rPr lang="en-US" dirty="0"/>
            </a:br>
            <a:r>
              <a:rPr lang="en-US" dirty="0"/>
              <a:t>Do as much in the query as possible. Only take columns you need.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1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236643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e an orchestrator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1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07121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423081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2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396366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2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386661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ake sure you have a decent server, one that is faster than my lapto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2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760353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B1ADB2-3E75-4B32-B675-A1D4DB512286}" type="slidenum">
              <a:rPr lang="nl-BE" smtClean="0"/>
              <a:t>3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66253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624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428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328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633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97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793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351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156294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40436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66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51200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8703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49824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1549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5255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1962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5104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75552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9358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711332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255324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82064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167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1760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875405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54659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47319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13540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4850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8085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89548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627192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28433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6520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903784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590384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9270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2972943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60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77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143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png"/><Relationship Id="rId50" Type="http://schemas.openxmlformats.org/officeDocument/2006/relationships/image" Target="../media/image6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52" Type="http://schemas.openxmlformats.org/officeDocument/2006/relationships/image" Target="../media/image8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D23DDBD4-3D8C-4FE1-87B8-408D0EC0A5D0}"/>
              </a:ext>
            </a:extLst>
          </p:cNvPr>
          <p:cNvGrpSpPr/>
          <p:nvPr/>
        </p:nvGrpSpPr>
        <p:grpSpPr>
          <a:xfrm>
            <a:off x="-4604842" y="254443"/>
            <a:ext cx="4228451" cy="3568234"/>
            <a:chOff x="-3535859" y="1276351"/>
            <a:chExt cx="4228451" cy="3568234"/>
          </a:xfrm>
        </p:grpSpPr>
        <p:sp>
          <p:nvSpPr>
            <p:cNvPr id="33" name="Rechthoek 32">
              <a:extLst>
                <a:ext uri="{FF2B5EF4-FFF2-40B4-BE49-F238E27FC236}">
                  <a16:creationId xmlns:a16="http://schemas.microsoft.com/office/drawing/2014/main" id="{5F3C2A04-787F-4DDA-93B5-9A8F0BECECF1}"/>
                </a:ext>
              </a:extLst>
            </p:cNvPr>
            <p:cNvSpPr/>
            <p:nvPr userDrawn="1"/>
          </p:nvSpPr>
          <p:spPr>
            <a:xfrm>
              <a:off x="-3529258" y="1276351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800" b="0" i="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kst niveaus</a:t>
              </a:r>
            </a:p>
          </p:txBody>
        </p:sp>
        <p:sp>
          <p:nvSpPr>
            <p:cNvPr id="34" name="Textfield placeholder">
              <a:extLst>
                <a:ext uri="{FF2B5EF4-FFF2-40B4-BE49-F238E27FC236}">
                  <a16:creationId xmlns:a16="http://schemas.microsoft.com/office/drawing/2014/main" id="{18EF3309-A426-45E8-89F6-76669134A7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535859" y="2872729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68000" marR="0" lvl="0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4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erste niveau (24pt)</a:t>
              </a:r>
            </a:p>
          </p:txBody>
        </p: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id="{42BA3D0F-2720-4DDA-95BE-5690ACBAAD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519217" y="2750438"/>
              <a:ext cx="42118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39ED2A08-9FA1-402A-B29F-B8DBBB2D15E0}"/>
                </a:ext>
              </a:extLst>
            </p:cNvPr>
            <p:cNvSpPr/>
            <p:nvPr/>
          </p:nvSpPr>
          <p:spPr>
            <a:xfrm>
              <a:off x="-3526033" y="2098550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8ACE70A3-0BC6-451D-A713-263485CC2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285599" y="2118058"/>
              <a:ext cx="222649" cy="205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751367F-4AD4-4B50-806D-8369C748E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94219" y="2118058"/>
              <a:ext cx="203698" cy="209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DC0DBC27-D709-4DD4-B2EA-B78451AB7B3A}"/>
                </a:ext>
              </a:extLst>
            </p:cNvPr>
            <p:cNvSpPr/>
            <p:nvPr/>
          </p:nvSpPr>
          <p:spPr>
            <a:xfrm>
              <a:off x="-3449390" y="2414273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4CF6900-111A-400C-84D5-356D5D0B9BFE}"/>
                </a:ext>
              </a:extLst>
            </p:cNvPr>
            <p:cNvSpPr/>
            <p:nvPr/>
          </p:nvSpPr>
          <p:spPr>
            <a:xfrm>
              <a:off x="-3449390" y="2437198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E7B0494F-75C3-41F1-AC11-A74AA88EBE1E}"/>
                </a:ext>
              </a:extLst>
            </p:cNvPr>
            <p:cNvSpPr/>
            <p:nvPr/>
          </p:nvSpPr>
          <p:spPr>
            <a:xfrm>
              <a:off x="-3449390" y="2483049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C4F9EF3E-52F9-4EC3-BF3A-E154A0AB1CEE}"/>
                </a:ext>
              </a:extLst>
            </p:cNvPr>
            <p:cNvSpPr/>
            <p:nvPr/>
          </p:nvSpPr>
          <p:spPr>
            <a:xfrm>
              <a:off x="-3449390" y="2505976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AB7389C3-38FC-44D2-A216-25E676343FEF}"/>
                </a:ext>
              </a:extLst>
            </p:cNvPr>
            <p:cNvSpPr/>
            <p:nvPr/>
          </p:nvSpPr>
          <p:spPr>
            <a:xfrm>
              <a:off x="-3449390" y="2460124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5" name="Groep 44">
              <a:extLst>
                <a:ext uri="{FF2B5EF4-FFF2-40B4-BE49-F238E27FC236}">
                  <a16:creationId xmlns:a16="http://schemas.microsoft.com/office/drawing/2014/main" id="{D3854F12-BB4A-4CD8-BFA4-365C297CF370}"/>
                </a:ext>
              </a:extLst>
            </p:cNvPr>
            <p:cNvGrpSpPr/>
            <p:nvPr/>
          </p:nvGrpSpPr>
          <p:grpSpPr>
            <a:xfrm>
              <a:off x="-3226194" y="2414273"/>
              <a:ext cx="60967" cy="103132"/>
              <a:chOff x="-2796392" y="1123442"/>
              <a:chExt cx="120832" cy="104889"/>
            </a:xfrm>
          </p:grpSpPr>
          <p:sp>
            <p:nvSpPr>
              <p:cNvPr id="85" name="Rechthoek 84">
                <a:extLst>
                  <a:ext uri="{FF2B5EF4-FFF2-40B4-BE49-F238E27FC236}">
                    <a16:creationId xmlns:a16="http://schemas.microsoft.com/office/drawing/2014/main" id="{B5C5AADE-89DB-401F-98C0-13B9110F1CCE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3956C632-C740-4B2E-ADBC-CF31FE1770D5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AB66ACFE-BC63-4FDC-8173-2FAA7BF33666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Rechthoek 87">
                <a:extLst>
                  <a:ext uri="{FF2B5EF4-FFF2-40B4-BE49-F238E27FC236}">
                    <a16:creationId xmlns:a16="http://schemas.microsoft.com/office/drawing/2014/main" id="{9B895C8D-3A6E-4CD9-8D8B-7BBB9DDE3516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9" name="Rechthoek 88">
                <a:extLst>
                  <a:ext uri="{FF2B5EF4-FFF2-40B4-BE49-F238E27FC236}">
                    <a16:creationId xmlns:a16="http://schemas.microsoft.com/office/drawing/2014/main" id="{B63AFC5A-7D38-400E-B1F5-6FE951A951AD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1A3CB10B-7A9F-4B66-900D-08A99F1A934F}"/>
                </a:ext>
              </a:extLst>
            </p:cNvPr>
            <p:cNvGrpSpPr/>
            <p:nvPr/>
          </p:nvGrpSpPr>
          <p:grpSpPr>
            <a:xfrm>
              <a:off x="-3155473" y="2414273"/>
              <a:ext cx="60967" cy="103132"/>
              <a:chOff x="-2796392" y="1123442"/>
              <a:chExt cx="120832" cy="104889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1F6BD51E-C6B5-4A14-B05D-C2AFCD0331C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15545EAF-9F72-456F-B31B-2F821635FF07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B0D546D-E827-4DB5-BDA2-9231DF0BC1A1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FAA656F-5081-43C4-ADE4-81DD3B94DC3F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112581B2-3D57-414C-82AE-A50E8036F669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7" name="Afgeronde rechthoek 69">
              <a:extLst>
                <a:ext uri="{FF2B5EF4-FFF2-40B4-BE49-F238E27FC236}">
                  <a16:creationId xmlns:a16="http://schemas.microsoft.com/office/drawing/2014/main" id="{95E9599E-E20B-40B8-9858-FD2C1F9E7CB5}"/>
                </a:ext>
              </a:extLst>
            </p:cNvPr>
            <p:cNvSpPr/>
            <p:nvPr/>
          </p:nvSpPr>
          <p:spPr>
            <a:xfrm>
              <a:off x="-2613177" y="2233729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42998167-4885-47AB-83E2-FAD43D593FE7}"/>
                </a:ext>
              </a:extLst>
            </p:cNvPr>
            <p:cNvSpPr/>
            <p:nvPr userDrawn="1"/>
          </p:nvSpPr>
          <p:spPr>
            <a:xfrm>
              <a:off x="-2533793" y="231489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E380B290-0AAA-4130-8F07-136ED90C2DA4}"/>
                </a:ext>
              </a:extLst>
            </p:cNvPr>
            <p:cNvSpPr/>
            <p:nvPr userDrawn="1"/>
          </p:nvSpPr>
          <p:spPr>
            <a:xfrm>
              <a:off x="-2533793" y="242707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8173BF0E-28B7-44D7-8335-397F592AAA28}"/>
                </a:ext>
              </a:extLst>
            </p:cNvPr>
            <p:cNvSpPr/>
            <p:nvPr userDrawn="1"/>
          </p:nvSpPr>
          <p:spPr>
            <a:xfrm>
              <a:off x="-2533793" y="2457830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304F5F19-B3EB-43A8-936B-486D597B1FA4}"/>
                </a:ext>
              </a:extLst>
            </p:cNvPr>
            <p:cNvSpPr/>
            <p:nvPr userDrawn="1"/>
          </p:nvSpPr>
          <p:spPr>
            <a:xfrm>
              <a:off x="-2463566" y="231489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E18B99A6-291B-4A39-91CE-821F95D90633}"/>
                </a:ext>
              </a:extLst>
            </p:cNvPr>
            <p:cNvSpPr/>
            <p:nvPr userDrawn="1"/>
          </p:nvSpPr>
          <p:spPr>
            <a:xfrm>
              <a:off x="-2463566" y="242707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4D6D4399-0704-4EAB-A3FB-2098849CF906}"/>
                </a:ext>
              </a:extLst>
            </p:cNvPr>
            <p:cNvSpPr/>
            <p:nvPr userDrawn="1"/>
          </p:nvSpPr>
          <p:spPr>
            <a:xfrm>
              <a:off x="-2463566" y="2457830"/>
              <a:ext cx="19386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A8C6C83-38B1-4BFE-BA4E-7707D08FACE1}"/>
                </a:ext>
              </a:extLst>
            </p:cNvPr>
            <p:cNvSpPr/>
            <p:nvPr userDrawn="1"/>
          </p:nvSpPr>
          <p:spPr>
            <a:xfrm>
              <a:off x="-2463566" y="2351512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28F79BBB-6222-480D-BBCB-246FD50184A4}"/>
                </a:ext>
              </a:extLst>
            </p:cNvPr>
            <p:cNvSpPr/>
            <p:nvPr userDrawn="1"/>
          </p:nvSpPr>
          <p:spPr>
            <a:xfrm>
              <a:off x="-2463566" y="2390191"/>
              <a:ext cx="66123" cy="22844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57601F41-FEF3-4939-A92F-A6278AEECC78}"/>
                </a:ext>
              </a:extLst>
            </p:cNvPr>
            <p:cNvSpPr/>
            <p:nvPr userDrawn="1"/>
          </p:nvSpPr>
          <p:spPr>
            <a:xfrm>
              <a:off x="-2463566" y="2288938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echthoek 56">
              <a:extLst>
                <a:ext uri="{FF2B5EF4-FFF2-40B4-BE49-F238E27FC236}">
                  <a16:creationId xmlns:a16="http://schemas.microsoft.com/office/drawing/2014/main" id="{9CB5F087-A06A-4054-8B50-084EBF2D22A1}"/>
                </a:ext>
              </a:extLst>
            </p:cNvPr>
            <p:cNvSpPr/>
            <p:nvPr userDrawn="1"/>
          </p:nvSpPr>
          <p:spPr>
            <a:xfrm>
              <a:off x="-2463566" y="2485433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Vrije vorm 81">
              <a:extLst>
                <a:ext uri="{FF2B5EF4-FFF2-40B4-BE49-F238E27FC236}">
                  <a16:creationId xmlns:a16="http://schemas.microsoft.com/office/drawing/2014/main" id="{4704B8BE-1D4B-459C-81C0-3ABFF4F6E2B8}"/>
                </a:ext>
              </a:extLst>
            </p:cNvPr>
            <p:cNvSpPr/>
            <p:nvPr userDrawn="1"/>
          </p:nvSpPr>
          <p:spPr>
            <a:xfrm>
              <a:off x="-2560099" y="2345784"/>
              <a:ext cx="83088" cy="66075"/>
            </a:xfrm>
            <a:custGeom>
              <a:avLst/>
              <a:gdLst>
                <a:gd name="connsiteX0" fmla="*/ 635000 w 762000"/>
                <a:gd name="connsiteY0" fmla="*/ 0 h 575734"/>
                <a:gd name="connsiteX1" fmla="*/ 482600 w 762000"/>
                <a:gd name="connsiteY1" fmla="*/ 203200 h 575734"/>
                <a:gd name="connsiteX2" fmla="*/ 762000 w 762000"/>
                <a:gd name="connsiteY2" fmla="*/ 203200 h 575734"/>
                <a:gd name="connsiteX3" fmla="*/ 762000 w 762000"/>
                <a:gd name="connsiteY3" fmla="*/ 364067 h 575734"/>
                <a:gd name="connsiteX4" fmla="*/ 482600 w 762000"/>
                <a:gd name="connsiteY4" fmla="*/ 364067 h 575734"/>
                <a:gd name="connsiteX5" fmla="*/ 635000 w 762000"/>
                <a:gd name="connsiteY5" fmla="*/ 575734 h 575734"/>
                <a:gd name="connsiteX6" fmla="*/ 524933 w 762000"/>
                <a:gd name="connsiteY6" fmla="*/ 575734 h 575734"/>
                <a:gd name="connsiteX7" fmla="*/ 0 w 762000"/>
                <a:gd name="connsiteY7" fmla="*/ 313267 h 575734"/>
                <a:gd name="connsiteX8" fmla="*/ 533400 w 762000"/>
                <a:gd name="connsiteY8" fmla="*/ 0 h 575734"/>
                <a:gd name="connsiteX9" fmla="*/ 635000 w 762000"/>
                <a:gd name="connsiteY9" fmla="*/ 0 h 57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575734">
                  <a:moveTo>
                    <a:pt x="635000" y="0"/>
                  </a:moveTo>
                  <a:lnTo>
                    <a:pt x="482600" y="203200"/>
                  </a:lnTo>
                  <a:lnTo>
                    <a:pt x="762000" y="203200"/>
                  </a:lnTo>
                  <a:lnTo>
                    <a:pt x="762000" y="364067"/>
                  </a:lnTo>
                  <a:lnTo>
                    <a:pt x="482600" y="364067"/>
                  </a:lnTo>
                  <a:lnTo>
                    <a:pt x="635000" y="575734"/>
                  </a:lnTo>
                  <a:lnTo>
                    <a:pt x="524933" y="575734"/>
                  </a:lnTo>
                  <a:lnTo>
                    <a:pt x="0" y="313267"/>
                  </a:lnTo>
                  <a:lnTo>
                    <a:pt x="533400" y="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003C7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id="{B77E465E-4994-4410-BDFB-E74DA9915A43}"/>
                </a:ext>
              </a:extLst>
            </p:cNvPr>
            <p:cNvCxnSpPr>
              <a:cxnSpLocks/>
              <a:stCxn id="39" idx="2"/>
              <a:endCxn id="47" idx="1"/>
            </p:cNvCxnSpPr>
            <p:nvPr/>
          </p:nvCxnSpPr>
          <p:spPr>
            <a:xfrm>
              <a:off x="-3392370" y="2328000"/>
              <a:ext cx="779193" cy="67767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cxnSp>
          <p:nvCxnSpPr>
            <p:cNvPr id="60" name="Rechte verbindingslijn 59">
              <a:extLst>
                <a:ext uri="{FF2B5EF4-FFF2-40B4-BE49-F238E27FC236}">
                  <a16:creationId xmlns:a16="http://schemas.microsoft.com/office/drawing/2014/main" id="{2ACA9F2F-7161-4B1B-95F0-773CFC065A9C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-3062950" y="1946509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sp>
          <p:nvSpPr>
            <p:cNvPr id="61" name="Textfield placeholder">
              <a:extLst>
                <a:ext uri="{FF2B5EF4-FFF2-40B4-BE49-F238E27FC236}">
                  <a16:creationId xmlns:a16="http://schemas.microsoft.com/office/drawing/2014/main" id="{67612CB7-E152-4146-9333-3571C004D037}"/>
                </a:ext>
              </a:extLst>
            </p:cNvPr>
            <p:cNvSpPr txBox="1">
              <a:spLocks/>
            </p:cNvSpPr>
            <p:nvPr/>
          </p:nvSpPr>
          <p:spPr>
            <a:xfrm>
              <a:off x="-2006299" y="1761809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hoo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62" name="Textfield placeholder">
              <a:extLst>
                <a:ext uri="{FF2B5EF4-FFF2-40B4-BE49-F238E27FC236}">
                  <a16:creationId xmlns:a16="http://schemas.microsoft.com/office/drawing/2014/main" id="{B587428E-F5C2-474E-98CF-480220D35364}"/>
                </a:ext>
              </a:extLst>
            </p:cNvPr>
            <p:cNvSpPr txBox="1">
              <a:spLocks/>
            </p:cNvSpPr>
            <p:nvPr/>
          </p:nvSpPr>
          <p:spPr>
            <a:xfrm>
              <a:off x="-2006300" y="218936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laa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64" name="Afgeronde rechthoek 67">
              <a:extLst>
                <a:ext uri="{FF2B5EF4-FFF2-40B4-BE49-F238E27FC236}">
                  <a16:creationId xmlns:a16="http://schemas.microsoft.com/office/drawing/2014/main" id="{43112927-0724-4911-9034-00F2111102C9}"/>
                </a:ext>
              </a:extLst>
            </p:cNvPr>
            <p:cNvSpPr/>
            <p:nvPr/>
          </p:nvSpPr>
          <p:spPr>
            <a:xfrm>
              <a:off x="-3519967" y="1706764"/>
              <a:ext cx="513775" cy="333502"/>
            </a:xfrm>
            <a:prstGeom prst="roundRect">
              <a:avLst>
                <a:gd name="adj" fmla="val 7565"/>
              </a:avLst>
            </a:prstGeom>
            <a:gradFill>
              <a:gsLst>
                <a:gs pos="0">
                  <a:srgbClr val="FFEC8F"/>
                </a:gs>
                <a:gs pos="100000">
                  <a:srgbClr val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Vrije vorm 68">
              <a:extLst>
                <a:ext uri="{FF2B5EF4-FFF2-40B4-BE49-F238E27FC236}">
                  <a16:creationId xmlns:a16="http://schemas.microsoft.com/office/drawing/2014/main" id="{BAA50536-9DAC-4DE5-9192-7EDE0EE866F1}"/>
                </a:ext>
              </a:extLst>
            </p:cNvPr>
            <p:cNvSpPr/>
            <p:nvPr/>
          </p:nvSpPr>
          <p:spPr>
            <a:xfrm>
              <a:off x="-3526032" y="1748201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C3AAF1EA-6F8D-481D-8838-22DBC5413BE7}"/>
                </a:ext>
              </a:extLst>
            </p:cNvPr>
            <p:cNvCxnSpPr>
              <a:cxnSpLocks/>
            </p:cNvCxnSpPr>
            <p:nvPr/>
          </p:nvCxnSpPr>
          <p:spPr>
            <a:xfrm>
              <a:off x="-3521423" y="1600939"/>
              <a:ext cx="4214015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DFE0C172-BC2D-4D64-BDB6-CDF2202E72B8}"/>
                </a:ext>
              </a:extLst>
            </p:cNvPr>
            <p:cNvGrpSpPr/>
            <p:nvPr userDrawn="1"/>
          </p:nvGrpSpPr>
          <p:grpSpPr>
            <a:xfrm flipH="1">
              <a:off x="-2613177" y="1836300"/>
              <a:ext cx="313472" cy="324076"/>
              <a:chOff x="-2613177" y="1836300"/>
              <a:chExt cx="313472" cy="324076"/>
            </a:xfrm>
          </p:grpSpPr>
          <p:sp>
            <p:nvSpPr>
              <p:cNvPr id="68" name="Afgeronde rechthoek 69">
                <a:extLst>
                  <a:ext uri="{FF2B5EF4-FFF2-40B4-BE49-F238E27FC236}">
                    <a16:creationId xmlns:a16="http://schemas.microsoft.com/office/drawing/2014/main" id="{61516DF4-C97E-472B-A649-DEF3C006D0D3}"/>
                  </a:ext>
                </a:extLst>
              </p:cNvPr>
              <p:cNvSpPr/>
              <p:nvPr userDrawn="1"/>
            </p:nvSpPr>
            <p:spPr>
              <a:xfrm>
                <a:off x="-2613177" y="1836300"/>
                <a:ext cx="313472" cy="324076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Rechthoek 68">
                <a:extLst>
                  <a:ext uri="{FF2B5EF4-FFF2-40B4-BE49-F238E27FC236}">
                    <a16:creationId xmlns:a16="http://schemas.microsoft.com/office/drawing/2014/main" id="{E88D2C4A-19E7-4422-B250-8498F51DA8F7}"/>
                  </a:ext>
                </a:extLst>
              </p:cNvPr>
              <p:cNvSpPr/>
              <p:nvPr userDrawn="1"/>
            </p:nvSpPr>
            <p:spPr>
              <a:xfrm>
                <a:off x="-2533793" y="191746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A5208688-A8E9-4B12-BD22-7E21B50E632F}"/>
                  </a:ext>
                </a:extLst>
              </p:cNvPr>
              <p:cNvSpPr/>
              <p:nvPr userDrawn="1"/>
            </p:nvSpPr>
            <p:spPr>
              <a:xfrm>
                <a:off x="-2533793" y="202964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1" name="Rechthoek 70">
                <a:extLst>
                  <a:ext uri="{FF2B5EF4-FFF2-40B4-BE49-F238E27FC236}">
                    <a16:creationId xmlns:a16="http://schemas.microsoft.com/office/drawing/2014/main" id="{C1EC612B-15F0-4635-A1FD-033A04B859B5}"/>
                  </a:ext>
                </a:extLst>
              </p:cNvPr>
              <p:cNvSpPr/>
              <p:nvPr userDrawn="1"/>
            </p:nvSpPr>
            <p:spPr>
              <a:xfrm>
                <a:off x="-2533793" y="2060401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2" name="Rechthoek 71">
                <a:extLst>
                  <a:ext uri="{FF2B5EF4-FFF2-40B4-BE49-F238E27FC236}">
                    <a16:creationId xmlns:a16="http://schemas.microsoft.com/office/drawing/2014/main" id="{424D998B-A988-4F8D-8B18-3037CE5FE02A}"/>
                  </a:ext>
                </a:extLst>
              </p:cNvPr>
              <p:cNvSpPr/>
              <p:nvPr userDrawn="1"/>
            </p:nvSpPr>
            <p:spPr>
              <a:xfrm>
                <a:off x="-2463566" y="191746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Rechthoek 72">
                <a:extLst>
                  <a:ext uri="{FF2B5EF4-FFF2-40B4-BE49-F238E27FC236}">
                    <a16:creationId xmlns:a16="http://schemas.microsoft.com/office/drawing/2014/main" id="{9892A9BE-4BF8-419B-9D77-7D83C0A1FB6D}"/>
                  </a:ext>
                </a:extLst>
              </p:cNvPr>
              <p:cNvSpPr/>
              <p:nvPr userDrawn="1"/>
            </p:nvSpPr>
            <p:spPr>
              <a:xfrm>
                <a:off x="-2463566" y="202964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C45066B9-85D1-42C4-BAB7-65B5653794A9}"/>
                  </a:ext>
                </a:extLst>
              </p:cNvPr>
              <p:cNvSpPr/>
              <p:nvPr userDrawn="1"/>
            </p:nvSpPr>
            <p:spPr>
              <a:xfrm>
                <a:off x="-2463566" y="2060401"/>
                <a:ext cx="19386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5" name="Rechthoek 74">
                <a:extLst>
                  <a:ext uri="{FF2B5EF4-FFF2-40B4-BE49-F238E27FC236}">
                    <a16:creationId xmlns:a16="http://schemas.microsoft.com/office/drawing/2014/main" id="{D509E1D1-2E87-42B0-8ED4-3639463FD97A}"/>
                  </a:ext>
                </a:extLst>
              </p:cNvPr>
              <p:cNvSpPr/>
              <p:nvPr userDrawn="1"/>
            </p:nvSpPr>
            <p:spPr>
              <a:xfrm>
                <a:off x="-2463566" y="1954083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Rechthoek 75">
                <a:extLst>
                  <a:ext uri="{FF2B5EF4-FFF2-40B4-BE49-F238E27FC236}">
                    <a16:creationId xmlns:a16="http://schemas.microsoft.com/office/drawing/2014/main" id="{4142553F-BC77-45ED-9F88-13220EF1112E}"/>
                  </a:ext>
                </a:extLst>
              </p:cNvPr>
              <p:cNvSpPr/>
              <p:nvPr userDrawn="1"/>
            </p:nvSpPr>
            <p:spPr>
              <a:xfrm>
                <a:off x="-2463566" y="1992762"/>
                <a:ext cx="66123" cy="2284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B6166E0B-26D8-438C-8884-DB863EE2C2F8}"/>
                  </a:ext>
                </a:extLst>
              </p:cNvPr>
              <p:cNvSpPr/>
              <p:nvPr userDrawn="1"/>
            </p:nvSpPr>
            <p:spPr>
              <a:xfrm>
                <a:off x="-2463566" y="1891509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98D98984-474F-42C2-A901-161A291E73A7}"/>
                  </a:ext>
                </a:extLst>
              </p:cNvPr>
              <p:cNvSpPr/>
              <p:nvPr userDrawn="1"/>
            </p:nvSpPr>
            <p:spPr>
              <a:xfrm>
                <a:off x="-2463566" y="2088004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9" name="Vrije vorm 81">
                <a:extLst>
                  <a:ext uri="{FF2B5EF4-FFF2-40B4-BE49-F238E27FC236}">
                    <a16:creationId xmlns:a16="http://schemas.microsoft.com/office/drawing/2014/main" id="{972FCEFD-2131-4886-AB26-47210906AA6B}"/>
                  </a:ext>
                </a:extLst>
              </p:cNvPr>
              <p:cNvSpPr/>
              <p:nvPr userDrawn="1"/>
            </p:nvSpPr>
            <p:spPr>
              <a:xfrm>
                <a:off x="-2560099" y="1948355"/>
                <a:ext cx="83088" cy="66075"/>
              </a:xfrm>
              <a:custGeom>
                <a:avLst/>
                <a:gdLst>
                  <a:gd name="connsiteX0" fmla="*/ 635000 w 762000"/>
                  <a:gd name="connsiteY0" fmla="*/ 0 h 575734"/>
                  <a:gd name="connsiteX1" fmla="*/ 482600 w 762000"/>
                  <a:gd name="connsiteY1" fmla="*/ 203200 h 575734"/>
                  <a:gd name="connsiteX2" fmla="*/ 762000 w 762000"/>
                  <a:gd name="connsiteY2" fmla="*/ 203200 h 575734"/>
                  <a:gd name="connsiteX3" fmla="*/ 762000 w 762000"/>
                  <a:gd name="connsiteY3" fmla="*/ 364067 h 575734"/>
                  <a:gd name="connsiteX4" fmla="*/ 482600 w 762000"/>
                  <a:gd name="connsiteY4" fmla="*/ 364067 h 575734"/>
                  <a:gd name="connsiteX5" fmla="*/ 635000 w 762000"/>
                  <a:gd name="connsiteY5" fmla="*/ 575734 h 575734"/>
                  <a:gd name="connsiteX6" fmla="*/ 524933 w 762000"/>
                  <a:gd name="connsiteY6" fmla="*/ 575734 h 575734"/>
                  <a:gd name="connsiteX7" fmla="*/ 0 w 762000"/>
                  <a:gd name="connsiteY7" fmla="*/ 313267 h 575734"/>
                  <a:gd name="connsiteX8" fmla="*/ 533400 w 762000"/>
                  <a:gd name="connsiteY8" fmla="*/ 0 h 575734"/>
                  <a:gd name="connsiteX9" fmla="*/ 635000 w 762000"/>
                  <a:gd name="connsiteY9" fmla="*/ 0 h 5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575734">
                    <a:moveTo>
                      <a:pt x="635000" y="0"/>
                    </a:moveTo>
                    <a:lnTo>
                      <a:pt x="482600" y="203200"/>
                    </a:lnTo>
                    <a:lnTo>
                      <a:pt x="762000" y="203200"/>
                    </a:lnTo>
                    <a:lnTo>
                      <a:pt x="762000" y="364067"/>
                    </a:lnTo>
                    <a:lnTo>
                      <a:pt x="482600" y="364067"/>
                    </a:lnTo>
                    <a:lnTo>
                      <a:pt x="635000" y="575734"/>
                    </a:lnTo>
                    <a:lnTo>
                      <a:pt x="524933" y="575734"/>
                    </a:lnTo>
                    <a:lnTo>
                      <a:pt x="0" y="313267"/>
                    </a:lnTo>
                    <a:lnTo>
                      <a:pt x="533400" y="0"/>
                    </a:lnTo>
                    <a:lnTo>
                      <a:pt x="635000" y="0"/>
                    </a:lnTo>
                    <a:close/>
                  </a:path>
                </a:pathLst>
              </a:custGeom>
              <a:solidFill>
                <a:srgbClr val="003C7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id="{BB5A74E4-367F-436A-88AF-4EECA39C9A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341553" y="3300318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6600" marR="0" lvl="1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weede niveau (20pt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id="{3F53EC3E-915F-4E09-B4B0-13AD082172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070129" y="3727907"/>
              <a:ext cx="3762721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rde niveau (18pt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id="{4B3DBD31-4DBA-4FA8-8E47-CD6FDC06EF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613177" y="4155496"/>
              <a:ext cx="330576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de niveau (16pt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id="{6FB8D7E3-9F3D-4EF0-9C8A-088786311F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188113" y="4583085"/>
              <a:ext cx="2880705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jfde niveau (16pt)</a:t>
              </a:r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8DDC52-3C64-406E-BCE8-D7C430F2E0B7}" type="slidenum">
              <a:rPr lang="nl-BE" smtClean="0"/>
              <a:t>‹#›</a:t>
            </a:fld>
            <a:endParaRPr lang="nl-BE"/>
          </a:p>
        </p:txBody>
      </p:sp>
      <p:sp>
        <p:nvSpPr>
          <p:cNvPr id="124" name="Rechthoek 123">
            <a:extLst>
              <a:ext uri="{FF2B5EF4-FFF2-40B4-BE49-F238E27FC236}">
                <a16:creationId xmlns:a16="http://schemas.microsoft.com/office/drawing/2014/main" id="{F7DE521A-FD28-4674-8870-99C9719D9BA8}"/>
              </a:ext>
            </a:extLst>
          </p:cNvPr>
          <p:cNvSpPr/>
          <p:nvPr/>
        </p:nvSpPr>
        <p:spPr>
          <a:xfrm>
            <a:off x="12580194" y="352036"/>
            <a:ext cx="43666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ttekst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npass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n de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ati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1606B710-69A2-4620-9154-26E4E739F958}"/>
              </a:ext>
            </a:extLst>
          </p:cNvPr>
          <p:cNvCxnSpPr>
            <a:cxnSpLocks/>
          </p:cNvCxnSpPr>
          <p:nvPr/>
        </p:nvCxnSpPr>
        <p:spPr>
          <a:xfrm>
            <a:off x="12753530" y="631447"/>
            <a:ext cx="3627293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6" name="Tekstvak 125">
            <a:extLst>
              <a:ext uri="{FF2B5EF4-FFF2-40B4-BE49-F238E27FC236}">
                <a16:creationId xmlns:a16="http://schemas.microsoft.com/office/drawing/2014/main" id="{17A1C232-30B9-4B07-8AB1-FC3713EAA6F3}"/>
              </a:ext>
            </a:extLst>
          </p:cNvPr>
          <p:cNvSpPr txBox="1"/>
          <p:nvPr/>
        </p:nvSpPr>
        <p:spPr>
          <a:xfrm>
            <a:off x="12753526" y="731927"/>
            <a:ext cx="2877725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voegen &gt;  Groep tekst &gt; Koptekst en voettekst &gt; titel instellen bij voetteks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ser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 &gt;  Group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ex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Header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nd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Se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itl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a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7" name="Rechthoek 126">
            <a:extLst>
              <a:ext uri="{FF2B5EF4-FFF2-40B4-BE49-F238E27FC236}">
                <a16:creationId xmlns:a16="http://schemas.microsoft.com/office/drawing/2014/main" id="{595DBF75-C33F-4774-8827-9E0A498545CE}"/>
              </a:ext>
            </a:extLst>
          </p:cNvPr>
          <p:cNvSpPr/>
          <p:nvPr/>
        </p:nvSpPr>
        <p:spPr>
          <a:xfrm>
            <a:off x="12589536" y="1861361"/>
            <a:ext cx="286838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en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8" name="Rechte verbindingslijn 127">
            <a:extLst>
              <a:ext uri="{FF2B5EF4-FFF2-40B4-BE49-F238E27FC236}">
                <a16:creationId xmlns:a16="http://schemas.microsoft.com/office/drawing/2014/main" id="{D74EB6B8-DB92-4985-BEEC-A404250CE3BD}"/>
              </a:ext>
            </a:extLst>
          </p:cNvPr>
          <p:cNvCxnSpPr>
            <a:cxnSpLocks/>
          </p:cNvCxnSpPr>
          <p:nvPr/>
        </p:nvCxnSpPr>
        <p:spPr>
          <a:xfrm>
            <a:off x="12762872" y="2119801"/>
            <a:ext cx="3617951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9" name="Tekstvak 128">
            <a:extLst>
              <a:ext uri="{FF2B5EF4-FFF2-40B4-BE49-F238E27FC236}">
                <a16:creationId xmlns:a16="http://schemas.microsoft.com/office/drawing/2014/main" id="{BD41E6CE-F692-4727-823E-4195EF1427C4}"/>
              </a:ext>
            </a:extLst>
          </p:cNvPr>
          <p:cNvSpPr txBox="1"/>
          <p:nvPr/>
        </p:nvSpPr>
        <p:spPr>
          <a:xfrm>
            <a:off x="12762868" y="2189940"/>
            <a:ext cx="3617950" cy="13068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iconen in te voegen, kopieer je ze van de laatste slide, selecteer je het vakje waar het moet komen en druk je CTRL+V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Kleuren aanpass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lint bovenaan &gt; vorm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F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rechtermuisknop &gt; vorm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icon &gt; lint bovenaan &gt; 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R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 icon &gt; rechtermuisknop &gt; </a:t>
            </a:r>
            <a:r>
              <a:rPr kumimoji="0" lang="nl-BE" sz="1100" b="0" i="0" u="none" strike="noStrike" kern="0" cap="none" spc="0" normalizeH="0" baseline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3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  <p:sldLayoutId id="2147483741" r:id="rId28"/>
    <p:sldLayoutId id="2147483742" r:id="rId29"/>
    <p:sldLayoutId id="2147483743" r:id="rId30"/>
    <p:sldLayoutId id="2147483744" r:id="rId31"/>
    <p:sldLayoutId id="2147483745" r:id="rId32"/>
    <p:sldLayoutId id="2147483746" r:id="rId33"/>
    <p:sldLayoutId id="2147483747" r:id="rId34"/>
    <p:sldLayoutId id="2147483748" r:id="rId35"/>
    <p:sldLayoutId id="2147483749" r:id="rId36"/>
    <p:sldLayoutId id="2147483750" r:id="rId37"/>
    <p:sldLayoutId id="2147483751" r:id="rId38"/>
    <p:sldLayoutId id="2147483752" r:id="rId39"/>
    <p:sldLayoutId id="2147483753" r:id="rId40"/>
    <p:sldLayoutId id="2147483754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rentozar.com/sql/parameter-sniffin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www.brentozar.com/archive/2022/09/free-live-webcast-why-is-one-query-sometimes-slow-and-sometimes-fast/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sqlserverfast.com/blog/hugo/2012/05/t-sql-user-defined-functions-the-good-the-bad-and-the-ugly-part-1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ikoport.com/columnstore/" TargetMode="External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hyperlink" Target="https://www.brentozar.com/blitzindex/" TargetMode="External"/><Relationship Id="rId1" Type="http://schemas.openxmlformats.org/officeDocument/2006/relationships/slideLayout" Target="../slideLayouts/slideLayout19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hyperlink" Target="https://amzn.to/3SLUzEH" TargetMode="External"/><Relationship Id="rId3" Type="http://schemas.openxmlformats.org/officeDocument/2006/relationships/hyperlink" Target="https://www.brentozar.com/first-aid/" TargetMode="External"/><Relationship Id="rId7" Type="http://schemas.openxmlformats.org/officeDocument/2006/relationships/hyperlink" Target="https://www.mssqltips.com/sqlservertip/6488/how-to-expand-a-range-of-dates-into-rows-using-a-sql-server-numbers-table/" TargetMode="External"/><Relationship Id="rId2" Type="http://schemas.openxmlformats.org/officeDocument/2006/relationships/hyperlink" Target="https://www.mssqltips.com/sqlservertutorial/276/sql-server-performance-tuning-and-monitoring-tutorial/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mssqltips.com/sqlservertip/4176/the-sql-server-numbers-table-explained-part-1/" TargetMode="External"/><Relationship Id="rId11" Type="http://schemas.openxmlformats.org/officeDocument/2006/relationships/image" Target="../media/image63.png"/><Relationship Id="rId5" Type="http://schemas.openxmlformats.org/officeDocument/2006/relationships/hyperlink" Target="https://www.mssqltips.com/sql-server-video/634/supercharge-your-sql-server-data-warehouse-with-columnstore-index/" TargetMode="External"/><Relationship Id="rId10" Type="http://schemas.openxmlformats.org/officeDocument/2006/relationships/image" Target="../media/image62.png"/><Relationship Id="rId4" Type="http://schemas.openxmlformats.org/officeDocument/2006/relationships/hyperlink" Target="https://www.brentozar.com/training/think-like-sql-server-engine/" TargetMode="External"/><Relationship Id="rId9" Type="http://schemas.openxmlformats.org/officeDocument/2006/relationships/image" Target="../media/image61.jpe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4" Type="http://schemas.openxmlformats.org/officeDocument/2006/relationships/hyperlink" Target="https://docs.microsoft.com/en-us/azure/architecture/data-guide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c/DataToboggan/videos" TargetMode="Externa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05956B-27F8-17FB-23F9-FD84EAA201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2" y="799151"/>
            <a:ext cx="8713867" cy="1903106"/>
          </a:xfrm>
        </p:spPr>
        <p:txBody>
          <a:bodyPr/>
          <a:lstStyle/>
          <a:p>
            <a:r>
              <a:rPr lang="en-US" dirty="0"/>
              <a:t>T-SQL Best Practices &amp; Tuning</a:t>
            </a:r>
            <a:endParaRPr lang="nl-B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BC2D90E-5AD4-BDA1-28A2-87D24A3402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800" dirty="0"/>
              <a:t>For the BI/DWH Developer</a:t>
            </a:r>
            <a:br>
              <a:rPr lang="en-US" sz="2800" dirty="0"/>
            </a:br>
            <a:r>
              <a:rPr lang="en-US" sz="2800" dirty="0"/>
              <a:t>(and the data engineer)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19485127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2BC430B-9E47-6792-0A5E-9286DD778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5475" y="1550535"/>
            <a:ext cx="6226080" cy="47552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EA0555E-6C4E-B62B-6C5B-1A5511E56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up</a:t>
            </a:r>
            <a:endParaRPr lang="nl-BE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2E88A11-F4C7-2282-FBB4-3F2F3937D5A8}"/>
              </a:ext>
            </a:extLst>
          </p:cNvPr>
          <p:cNvCxnSpPr>
            <a:cxnSpLocks/>
          </p:cNvCxnSpPr>
          <p:nvPr/>
        </p:nvCxnSpPr>
        <p:spPr>
          <a:xfrm flipV="1">
            <a:off x="3924796" y="4540731"/>
            <a:ext cx="807628" cy="759505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09D77AAD-402A-8BBF-8A65-2FA7C426044C}"/>
              </a:ext>
            </a:extLst>
          </p:cNvPr>
          <p:cNvSpPr/>
          <p:nvPr/>
        </p:nvSpPr>
        <p:spPr>
          <a:xfrm>
            <a:off x="4727512" y="3581504"/>
            <a:ext cx="3225000" cy="14726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65BB09-4E26-65E4-FAEA-F9DEDF04C22A}"/>
              </a:ext>
            </a:extLst>
          </p:cNvPr>
          <p:cNvSpPr txBox="1"/>
          <p:nvPr/>
        </p:nvSpPr>
        <p:spPr>
          <a:xfrm>
            <a:off x="2838725" y="5300236"/>
            <a:ext cx="1463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LWAYS</a:t>
            </a:r>
          </a:p>
        </p:txBody>
      </p:sp>
    </p:spTree>
    <p:extLst>
      <p:ext uri="{BB962C8B-B14F-4D97-AF65-F5344CB8AC3E}">
        <p14:creationId xmlns:p14="http://schemas.microsoft.com/office/powerpoint/2010/main" val="273390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0555E-6C4E-B62B-6C5B-1A5511E56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up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6F9C62-3F98-DF67-1B32-68358B694F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on’t try to be smart and</a:t>
            </a:r>
            <a:br>
              <a:rPr lang="en-US" dirty="0"/>
            </a:br>
            <a:r>
              <a:rPr lang="en-US" dirty="0"/>
              <a:t>use custom query and partial</a:t>
            </a:r>
            <a:br>
              <a:rPr lang="en-US" dirty="0"/>
            </a:br>
            <a:r>
              <a:rPr lang="en-US" dirty="0"/>
              <a:t>caching to implement range lookups</a:t>
            </a:r>
            <a:endParaRPr lang="nl-BE" dirty="0"/>
          </a:p>
        </p:txBody>
      </p:sp>
      <p:pic>
        <p:nvPicPr>
          <p:cNvPr id="2050" name="Picture 2" descr="ssis lookup transformation editor - advanced tab">
            <a:extLst>
              <a:ext uri="{FF2B5EF4-FFF2-40B4-BE49-F238E27FC236}">
                <a16:creationId xmlns:a16="http://schemas.microsoft.com/office/drawing/2014/main" id="{038FFDE3-F22D-6FF8-3C86-D89937D13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462" y="729999"/>
            <a:ext cx="5772538" cy="4874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5EB649B-6BCD-292D-31EC-24E3CD6DC555}"/>
              </a:ext>
            </a:extLst>
          </p:cNvPr>
          <p:cNvCxnSpPr>
            <a:cxnSpLocks/>
          </p:cNvCxnSpPr>
          <p:nvPr/>
        </p:nvCxnSpPr>
        <p:spPr>
          <a:xfrm flipV="1">
            <a:off x="7274485" y="3295102"/>
            <a:ext cx="807628" cy="759505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4" descr="NOPE NOPE NOPE - How about no bear | Meme Generator">
            <a:extLst>
              <a:ext uri="{FF2B5EF4-FFF2-40B4-BE49-F238E27FC236}">
                <a16:creationId xmlns:a16="http://schemas.microsoft.com/office/drawing/2014/main" id="{4CF41661-64C8-6B83-8625-152D182FA6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324" y="3336830"/>
            <a:ext cx="3081374" cy="3081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687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8459C-B8B6-25EA-CDF8-A58546AA1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LE DB Command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A16EDC-4176-DAEA-2288-C288499AA14A}"/>
              </a:ext>
            </a:extLst>
          </p:cNvPr>
          <p:cNvSpPr txBox="1"/>
          <p:nvPr/>
        </p:nvSpPr>
        <p:spPr>
          <a:xfrm>
            <a:off x="712177" y="1174299"/>
            <a:ext cx="9753600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600" dirty="0">
                <a:solidFill>
                  <a:srgbClr val="FF0000"/>
                </a:solidFill>
              </a:rPr>
              <a:t>DO NOT USE IT</a:t>
            </a:r>
          </a:p>
        </p:txBody>
      </p:sp>
    </p:spTree>
    <p:extLst>
      <p:ext uri="{BB962C8B-B14F-4D97-AF65-F5344CB8AC3E}">
        <p14:creationId xmlns:p14="http://schemas.microsoft.com/office/powerpoint/2010/main" val="61596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318CA6-3960-241C-4E58-DEFDBA6B3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ite to databas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25A0B9-0C29-4FEC-84F6-0EBBC68327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848" y="1416848"/>
            <a:ext cx="5220152" cy="54411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549C80-F5EC-F947-41C9-27D4758AB4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5738" y="2202485"/>
            <a:ext cx="4088145" cy="1922038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36625C3-95A0-7686-899C-6538163C0C42}"/>
              </a:ext>
            </a:extLst>
          </p:cNvPr>
          <p:cNvCxnSpPr>
            <a:cxnSpLocks/>
          </p:cNvCxnSpPr>
          <p:nvPr/>
        </p:nvCxnSpPr>
        <p:spPr>
          <a:xfrm flipV="1">
            <a:off x="3257550" y="3530121"/>
            <a:ext cx="4327303" cy="98904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3177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8800" dirty="0"/>
              <a:t>ADF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3528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0B1AE2-E356-8DDE-B700-D8F2BD5652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4819" y="1441289"/>
            <a:ext cx="6874533" cy="454385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8A3AD19-8730-64DD-A335-FDDFA3EDC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up/Copy/Script Activity</a:t>
            </a:r>
            <a:endParaRPr lang="nl-B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B165CA-EEA5-1F6C-05CC-831491439725}"/>
              </a:ext>
            </a:extLst>
          </p:cNvPr>
          <p:cNvSpPr/>
          <p:nvPr/>
        </p:nvSpPr>
        <p:spPr>
          <a:xfrm>
            <a:off x="4521371" y="4837474"/>
            <a:ext cx="2108717" cy="3748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84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A3AD19-8730-64DD-A335-FDDFA3EDC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llelism FTW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F8547B-F6EE-6F66-1CE3-C78B22F259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1977" y="2321169"/>
            <a:ext cx="9048045" cy="2693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9756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8800" dirty="0"/>
              <a:t>SSAS / Power BI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906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11B39A9-E5CB-A5E7-0EA3-661991833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-SQL is only used to pull data i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6FF93DD-7CC7-CBFE-9064-C4BA763C72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720754" cy="5178251"/>
          </a:xfrm>
        </p:spPr>
        <p:txBody>
          <a:bodyPr>
            <a:normAutofit/>
          </a:bodyPr>
          <a:lstStyle/>
          <a:p>
            <a:r>
              <a:rPr lang="en-US" sz="2800" dirty="0"/>
              <a:t>be careful of performance if you do lots of complex logic</a:t>
            </a:r>
          </a:p>
          <a:p>
            <a:pPr lvl="1"/>
            <a:r>
              <a:rPr lang="en-US" sz="2400" dirty="0"/>
              <a:t>persist if needed through clustered view or reporting table</a:t>
            </a:r>
          </a:p>
          <a:p>
            <a:endParaRPr lang="en-US" sz="2800" dirty="0"/>
          </a:p>
          <a:p>
            <a:r>
              <a:rPr lang="en-US" sz="2800" dirty="0"/>
              <a:t>only get the columns you need</a:t>
            </a:r>
          </a:p>
          <a:p>
            <a:endParaRPr lang="en-US" sz="2800" dirty="0"/>
          </a:p>
          <a:p>
            <a:r>
              <a:rPr lang="en-US" sz="2800" dirty="0"/>
              <a:t>reduce cardinality</a:t>
            </a:r>
          </a:p>
          <a:p>
            <a:endParaRPr lang="en-US" sz="2800" dirty="0"/>
          </a:p>
          <a:p>
            <a:r>
              <a:rPr lang="en-US" sz="2800" dirty="0"/>
              <a:t>maybe use the </a:t>
            </a:r>
            <a:r>
              <a:rPr lang="en-US" sz="2800" i="1" dirty="0"/>
              <a:t>money</a:t>
            </a:r>
            <a:r>
              <a:rPr lang="en-US" sz="2800" dirty="0"/>
              <a:t> data type?</a:t>
            </a:r>
          </a:p>
          <a:p>
            <a:endParaRPr lang="en-US" sz="2800" dirty="0"/>
          </a:p>
          <a:p>
            <a:r>
              <a:rPr lang="en-US" sz="2800" i="1" dirty="0"/>
              <a:t>write some decent SQL, obviously</a:t>
            </a:r>
            <a:endParaRPr lang="nl-BE" sz="2800" i="1" dirty="0"/>
          </a:p>
        </p:txBody>
      </p:sp>
    </p:spTree>
    <p:extLst>
      <p:ext uri="{BB962C8B-B14F-4D97-AF65-F5344CB8AC3E}">
        <p14:creationId xmlns:p14="http://schemas.microsoft.com/office/powerpoint/2010/main" val="385810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8800" dirty="0"/>
              <a:t>SSRS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86654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026" name="Picture 2" descr="Duvel Beer Glass | Roberts &amp; Speight Wine Merchants &amp; Delicatessen">
            <a:extLst>
              <a:ext uri="{FF2B5EF4-FFF2-40B4-BE49-F238E27FC236}">
                <a16:creationId xmlns:a16="http://schemas.microsoft.com/office/drawing/2014/main" id="{5EC29D78-2384-45FC-B6AF-C98114F50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339" y="990899"/>
            <a:ext cx="2367661" cy="42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9419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82090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75563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832243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378849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386264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</p:spTree>
    <p:extLst>
      <p:ext uri="{BB962C8B-B14F-4D97-AF65-F5344CB8AC3E}">
        <p14:creationId xmlns:p14="http://schemas.microsoft.com/office/powerpoint/2010/main" val="261998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72FD9BE-AE9B-EF9A-7DD4-2396B68EE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Query Luke</a:t>
            </a:r>
            <a:endParaRPr lang="nl-BE" dirty="0"/>
          </a:p>
        </p:txBody>
      </p:sp>
      <p:pic>
        <p:nvPicPr>
          <p:cNvPr id="3074" name="Picture 2" descr="Rabbit And Turtle Stock Photo - Download Image Now - iStock">
            <a:extLst>
              <a:ext uri="{FF2B5EF4-FFF2-40B4-BE49-F238E27FC236}">
                <a16:creationId xmlns:a16="http://schemas.microsoft.com/office/drawing/2014/main" id="{1ABE7FDB-C231-E9DE-520F-ED112A50B172}"/>
              </a:ext>
            </a:extLst>
          </p:cNvPr>
          <p:cNvPicPr>
            <a:picLocks noGrp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231"/>
            <a:ext cx="12192000" cy="6841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77F23A0-93F5-7FB1-735D-0AC56C362093}"/>
              </a:ext>
            </a:extLst>
          </p:cNvPr>
          <p:cNvCxnSpPr>
            <a:cxnSpLocks/>
          </p:cNvCxnSpPr>
          <p:nvPr/>
        </p:nvCxnSpPr>
        <p:spPr>
          <a:xfrm>
            <a:off x="1514475" y="2450602"/>
            <a:ext cx="1495425" cy="978398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851255B-BCF2-01F5-D4C0-1E27F0A9E85B}"/>
              </a:ext>
            </a:extLst>
          </p:cNvPr>
          <p:cNvSpPr txBox="1"/>
          <p:nvPr/>
        </p:nvSpPr>
        <p:spPr>
          <a:xfrm>
            <a:off x="838200" y="1878954"/>
            <a:ext cx="10609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SQL</a:t>
            </a:r>
            <a:endParaRPr lang="nl-BE" sz="3200" dirty="0">
              <a:solidFill>
                <a:srgbClr val="FF0000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730CBB6-725E-B7A5-61BF-BEA7C8ECF5E7}"/>
              </a:ext>
            </a:extLst>
          </p:cNvPr>
          <p:cNvCxnSpPr>
            <a:cxnSpLocks/>
          </p:cNvCxnSpPr>
          <p:nvPr/>
        </p:nvCxnSpPr>
        <p:spPr>
          <a:xfrm flipH="1">
            <a:off x="6315075" y="942975"/>
            <a:ext cx="2276475" cy="233362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7EBCBF6-8DB2-84BC-278B-939DC3182EFF}"/>
              </a:ext>
            </a:extLst>
          </p:cNvPr>
          <p:cNvSpPr txBox="1"/>
          <p:nvPr/>
        </p:nvSpPr>
        <p:spPr>
          <a:xfrm>
            <a:off x="8591550" y="712142"/>
            <a:ext cx="14316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SSRS</a:t>
            </a:r>
            <a:endParaRPr lang="nl-BE" sz="3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81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4DEDC-6005-8902-BB88-EE71D15E1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Query Luk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CD4C3-C857-7EE2-BE8E-338DA5DC3B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sz="2800" dirty="0"/>
              <a:t>grouping, sorting, filtering </a:t>
            </a:r>
            <a:r>
              <a:rPr lang="en-US" sz="2800" dirty="0">
                <a:sym typeface="Wingdings" panose="05000000000000000000" pitchFamily="2" charset="2"/>
              </a:rPr>
              <a:t> SQL</a:t>
            </a:r>
            <a:endParaRPr lang="en-US" sz="2800" dirty="0"/>
          </a:p>
          <a:p>
            <a:r>
              <a:rPr lang="en-US" sz="2800" dirty="0"/>
              <a:t>watch out for parameter sniffing</a:t>
            </a:r>
            <a:br>
              <a:rPr lang="en-US" sz="2800" dirty="0"/>
            </a:br>
            <a:r>
              <a:rPr lang="en-US" dirty="0">
                <a:hlinkClick r:id="rId3"/>
              </a:rPr>
              <a:t>https://www.brentozar.com/sql/parameter-sniffing/</a:t>
            </a:r>
            <a:br>
              <a:rPr lang="en-US" dirty="0"/>
            </a:br>
            <a:r>
              <a:rPr lang="en-US" dirty="0">
                <a:hlinkClick r:id="rId4"/>
              </a:rPr>
              <a:t>Free webcast on October 20th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don’t overly rely on .NET</a:t>
            </a:r>
          </a:p>
          <a:p>
            <a:pPr lvl="1"/>
            <a:r>
              <a:rPr lang="en-US" sz="2400" dirty="0"/>
              <a:t>you can calculate running totals using window functions for example</a:t>
            </a:r>
          </a:p>
          <a:p>
            <a:pPr lvl="1"/>
            <a:endParaRPr lang="en-US" sz="2400" dirty="0"/>
          </a:p>
          <a:p>
            <a:r>
              <a:rPr lang="en-US" sz="2800" dirty="0"/>
              <a:t>if logic is too complex, persist the result set</a:t>
            </a:r>
          </a:p>
          <a:p>
            <a:endParaRPr lang="en-US" sz="2800" dirty="0"/>
          </a:p>
          <a:p>
            <a:r>
              <a:rPr lang="en-US" sz="2800" i="1" dirty="0"/>
              <a:t>the more you do in SQL, the better</a:t>
            </a:r>
            <a:endParaRPr lang="nl-BE" sz="2800" i="1" dirty="0"/>
          </a:p>
        </p:txBody>
      </p:sp>
    </p:spTree>
    <p:extLst>
      <p:ext uri="{BB962C8B-B14F-4D97-AF65-F5344CB8AC3E}">
        <p14:creationId xmlns:p14="http://schemas.microsoft.com/office/powerpoint/2010/main" val="372056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5BD80-5EAF-7066-86CD-572832BC4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 parameter valu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64E58-5964-ABE9-76E7-3D9CE7C353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implement cascading filters</a:t>
            </a:r>
          </a:p>
          <a:p>
            <a:pPr lvl="1"/>
            <a:r>
              <a:rPr lang="en-US" sz="2400" dirty="0"/>
              <a:t>users will love you since they</a:t>
            </a:r>
            <a:br>
              <a:rPr lang="en-US" sz="2400" dirty="0"/>
            </a:br>
            <a:r>
              <a:rPr lang="en-US" sz="2400" dirty="0"/>
              <a:t>don’t have to scroll through</a:t>
            </a:r>
            <a:br>
              <a:rPr lang="nl-BE" sz="2400" dirty="0"/>
            </a:br>
            <a:r>
              <a:rPr lang="nl-BE" sz="2400" dirty="0"/>
              <a:t>1000+ parameter </a:t>
            </a:r>
            <a:r>
              <a:rPr lang="nl-BE" sz="2400" dirty="0" err="1"/>
              <a:t>values</a:t>
            </a:r>
            <a:endParaRPr lang="nl-BE" sz="2400" dirty="0"/>
          </a:p>
          <a:p>
            <a:pPr lvl="1"/>
            <a:endParaRPr lang="nl-BE" sz="2400" dirty="0"/>
          </a:p>
          <a:p>
            <a:pPr lvl="1"/>
            <a:r>
              <a:rPr lang="nl-BE" sz="2400" dirty="0" err="1"/>
              <a:t>you</a:t>
            </a:r>
            <a:r>
              <a:rPr lang="nl-BE" sz="2400" dirty="0"/>
              <a:t> </a:t>
            </a:r>
            <a:r>
              <a:rPr lang="nl-BE" sz="2400" dirty="0" err="1"/>
              <a:t>only</a:t>
            </a:r>
            <a:r>
              <a:rPr lang="nl-BE" sz="2400" dirty="0"/>
              <a:t> </a:t>
            </a:r>
            <a:r>
              <a:rPr lang="nl-BE" sz="2400" dirty="0" err="1"/>
              <a:t>send</a:t>
            </a:r>
            <a:r>
              <a:rPr lang="nl-BE" sz="2400" dirty="0"/>
              <a:t> </a:t>
            </a:r>
            <a:r>
              <a:rPr lang="nl-BE" sz="2400" dirty="0" err="1"/>
              <a:t>queries</a:t>
            </a:r>
            <a:r>
              <a:rPr lang="nl-BE" sz="2400" dirty="0"/>
              <a:t> </a:t>
            </a:r>
            <a:r>
              <a:rPr lang="nl-BE" sz="2400" dirty="0" err="1"/>
              <a:t>to</a:t>
            </a:r>
            <a:r>
              <a:rPr lang="nl-BE" sz="2400" dirty="0"/>
              <a:t> </a:t>
            </a:r>
            <a:r>
              <a:rPr lang="nl-BE" sz="2400" dirty="0" err="1"/>
              <a:t>the</a:t>
            </a:r>
            <a:br>
              <a:rPr lang="nl-BE" sz="2400" dirty="0"/>
            </a:br>
            <a:r>
              <a:rPr lang="nl-BE" sz="2400" dirty="0"/>
              <a:t>database </a:t>
            </a:r>
            <a:r>
              <a:rPr lang="nl-BE" sz="2400" dirty="0" err="1"/>
              <a:t>with</a:t>
            </a:r>
            <a:r>
              <a:rPr lang="nl-BE" sz="2400" dirty="0"/>
              <a:t> small </a:t>
            </a:r>
            <a:r>
              <a:rPr lang="nl-BE" sz="2400" dirty="0" err="1"/>
              <a:t>result</a:t>
            </a:r>
            <a:r>
              <a:rPr lang="nl-BE" sz="2400" dirty="0"/>
              <a:t> sets</a:t>
            </a:r>
            <a:endParaRPr lang="en-US" sz="2400" dirty="0"/>
          </a:p>
        </p:txBody>
      </p:sp>
      <p:pic>
        <p:nvPicPr>
          <p:cNvPr id="1026" name="Picture 2" descr="Cascaded Parameters in SSRS">
            <a:extLst>
              <a:ext uri="{FF2B5EF4-FFF2-40B4-BE49-F238E27FC236}">
                <a16:creationId xmlns:a16="http://schemas.microsoft.com/office/drawing/2014/main" id="{5838E6FE-3551-CF2E-0A72-61BE64F04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738" y="1289981"/>
            <a:ext cx="5488262" cy="546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8792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248D6-14F9-D074-A6B6-57EC1F42C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logs to find bottleneck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ECBA10-4D54-3305-7922-3867BBDF7B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52600"/>
            <a:ext cx="3370386" cy="21907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C4A10A7-EEC8-3E8F-E914-1B8BBE0152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7610" y="1752600"/>
            <a:ext cx="8858340" cy="39799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3BB2248-A3DD-54CE-DC4C-A5FB04314A82}"/>
              </a:ext>
            </a:extLst>
          </p:cNvPr>
          <p:cNvSpPr/>
          <p:nvPr/>
        </p:nvSpPr>
        <p:spPr>
          <a:xfrm>
            <a:off x="7173219" y="5254752"/>
            <a:ext cx="587458" cy="3840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A068AC-D576-B95E-1E48-C30382788266}"/>
              </a:ext>
            </a:extLst>
          </p:cNvPr>
          <p:cNvSpPr/>
          <p:nvPr/>
        </p:nvSpPr>
        <p:spPr>
          <a:xfrm>
            <a:off x="7173219" y="5067495"/>
            <a:ext cx="2302733" cy="168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0EE78E-503E-B24B-98FD-B7512456B565}"/>
              </a:ext>
            </a:extLst>
          </p:cNvPr>
          <p:cNvSpPr/>
          <p:nvPr/>
        </p:nvSpPr>
        <p:spPr>
          <a:xfrm>
            <a:off x="10127217" y="4423773"/>
            <a:ext cx="678734" cy="12874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28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8800" dirty="0"/>
              <a:t>the data warehouse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3965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38"/>
            <a:ext cx="11157987" cy="2852737"/>
          </a:xfrm>
        </p:spPr>
        <p:txBody>
          <a:bodyPr anchor="t">
            <a:normAutofit/>
          </a:bodyPr>
          <a:lstStyle/>
          <a:p>
            <a:r>
              <a:rPr lang="en-US" sz="8800" dirty="0"/>
              <a:t>a little DBA knowledge…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24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95E799-F4BC-5774-42C7-639BA3E14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models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E5793E7-8073-4123-C1E3-86607700E6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o you really need</a:t>
            </a:r>
            <a:br>
              <a:rPr lang="en-US" dirty="0"/>
            </a:br>
            <a:r>
              <a:rPr lang="en-US" dirty="0"/>
              <a:t>point-in-time recovery?</a:t>
            </a:r>
            <a:endParaRPr lang="nl-BE" dirty="0"/>
          </a:p>
        </p:txBody>
      </p:sp>
      <p:pic>
        <p:nvPicPr>
          <p:cNvPr id="6" name="Picture Placeholder 6">
            <a:extLst>
              <a:ext uri="{FF2B5EF4-FFF2-40B4-BE49-F238E27FC236}">
                <a16:creationId xmlns:a16="http://schemas.microsoft.com/office/drawing/2014/main" id="{F8205EAC-7FF5-054A-2225-CC806633AC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829" b="1829"/>
          <a:stretch>
            <a:fillRect/>
          </a:stretch>
        </p:blipFill>
        <p:spPr>
          <a:xfrm>
            <a:off x="5327780" y="0"/>
            <a:ext cx="68642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21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9F3A1-6181-2853-AE15-AD25C8808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 fil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45C276-D66D-19CE-2544-A0AC3D9771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heck the auto growth setting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re-allocate siz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multiple files &amp; filegroup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lease don’t use the C:\ drive</a:t>
            </a:r>
            <a:endParaRPr lang="nl-BE" dirty="0"/>
          </a:p>
        </p:txBody>
      </p:sp>
      <p:pic>
        <p:nvPicPr>
          <p:cNvPr id="4" name="Picture 2" descr="https://www.tsquareproperties.com/wp-content/uploads/2017/04/cramped-office-space.png">
            <a:extLst>
              <a:ext uri="{FF2B5EF4-FFF2-40B4-BE49-F238E27FC236}">
                <a16:creationId xmlns:a16="http://schemas.microsoft.com/office/drawing/2014/main" id="{90C3D52C-B8FB-1DD3-2B63-7F0AACF9F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04" y="140757"/>
            <a:ext cx="4315559" cy="5608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24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A672-DC0C-3B5B-520B-6701540B8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empdb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E9AD33-9342-99AB-A500-124EE26D7D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you only have one</a:t>
            </a:r>
          </a:p>
          <a:p>
            <a:pPr marL="0" indent="0">
              <a:buNone/>
            </a:pPr>
            <a:r>
              <a:rPr lang="en-US" dirty="0"/>
              <a:t>don’t turn it into a bottleneck</a:t>
            </a:r>
            <a:endParaRPr lang="nl-BE" dirty="0"/>
          </a:p>
        </p:txBody>
      </p:sp>
      <p:pic>
        <p:nvPicPr>
          <p:cNvPr id="4" name="Picture 4" descr="Afbeeldingsresultaat voor public toilet">
            <a:extLst>
              <a:ext uri="{FF2B5EF4-FFF2-40B4-BE49-F238E27FC236}">
                <a16:creationId xmlns:a16="http://schemas.microsoft.com/office/drawing/2014/main" id="{8E081633-8D5F-6F59-41F8-157BE85EE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34" r="24534"/>
          <a:stretch>
            <a:fillRect/>
          </a:stretch>
        </p:blipFill>
        <p:spPr bwMode="auto">
          <a:xfrm>
            <a:off x="5572125" y="0"/>
            <a:ext cx="6619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205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77AE74-8FE1-D810-981F-D428160E2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3B6A1C-D24B-9B67-BAD0-74979EBF14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Picture 2" descr="Afbeeldingsresultaat voor slow computer">
            <a:extLst>
              <a:ext uri="{FF2B5EF4-FFF2-40B4-BE49-F238E27FC236}">
                <a16:creationId xmlns:a16="http://schemas.microsoft.com/office/drawing/2014/main" id="{F5D0C184-E69F-FE44-F314-A75E9EE2311B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38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66" y="2260723"/>
            <a:ext cx="11360150" cy="2852737"/>
          </a:xfrm>
        </p:spPr>
        <p:txBody>
          <a:bodyPr anchor="t">
            <a:normAutofit/>
          </a:bodyPr>
          <a:lstStyle/>
          <a:p>
            <a:r>
              <a:rPr lang="en-US" sz="8800" dirty="0"/>
              <a:t>a quick word about best practices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228723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0D58B-0173-1381-E712-5DB1A2D73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what about Azure SQL DB?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F69413-FF91-7975-65BD-8BE60B4953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none of the previous matters, Microsoft does it for you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it’s all full recovery model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/>
              <a:t>make sure you know which tier you’re on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673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38"/>
            <a:ext cx="11157987" cy="2852737"/>
          </a:xfrm>
        </p:spPr>
        <p:txBody>
          <a:bodyPr anchor="t">
            <a:normAutofit/>
          </a:bodyPr>
          <a:lstStyle/>
          <a:p>
            <a:r>
              <a:rPr lang="en-US" sz="8800" dirty="0"/>
              <a:t>data warehouse design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621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889" y="1100138"/>
            <a:ext cx="9553121" cy="4000597"/>
          </a:xfrm>
        </p:spPr>
        <p:txBody>
          <a:bodyPr anchor="t">
            <a:normAutofit fontScale="90000"/>
          </a:bodyPr>
          <a:lstStyle/>
          <a:p>
            <a:r>
              <a:rPr lang="en-US" sz="12500" dirty="0"/>
              <a:t>STAR SCHEMA ALL THE THINGS</a:t>
            </a:r>
            <a:endParaRPr lang="nl-BE" sz="12500" dirty="0"/>
          </a:p>
        </p:txBody>
      </p:sp>
    </p:spTree>
    <p:extLst>
      <p:ext uri="{BB962C8B-B14F-4D97-AF65-F5344CB8AC3E}">
        <p14:creationId xmlns:p14="http://schemas.microsoft.com/office/powerpoint/2010/main" val="92668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5CB23-9F29-1CA7-E491-4D0CA3389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mens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A94376-0669-EB9D-E760-4FF421B689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wide tables, many columns</a:t>
            </a:r>
          </a:p>
          <a:p>
            <a:r>
              <a:rPr lang="en-US" sz="2800" dirty="0"/>
              <a:t>not that many rows</a:t>
            </a:r>
          </a:p>
          <a:p>
            <a:endParaRPr lang="en-US" sz="2800" dirty="0"/>
          </a:p>
          <a:p>
            <a:r>
              <a:rPr lang="en-US" sz="2800" dirty="0"/>
              <a:t>only use columns you actually going to need</a:t>
            </a:r>
          </a:p>
          <a:p>
            <a:r>
              <a:rPr lang="en-US" sz="2800" dirty="0"/>
              <a:t>use NVARCHAR only when necessary, e.g. names, addresses</a:t>
            </a:r>
          </a:p>
          <a:p>
            <a:r>
              <a:rPr lang="en-US" sz="2800" dirty="0"/>
              <a:t>avoid BLOB columns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536667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F78BF5-4E6E-1BCB-045E-5A8673622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635AC9-348E-5D84-9745-0B2510E4D5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ng, small tables</a:t>
            </a:r>
          </a:p>
          <a:p>
            <a:r>
              <a:rPr lang="nl-BE" sz="2800" dirty="0" err="1"/>
              <a:t>many</a:t>
            </a:r>
            <a:r>
              <a:rPr lang="nl-BE" sz="2800" dirty="0"/>
              <a:t>, </a:t>
            </a:r>
            <a:r>
              <a:rPr lang="nl-BE" sz="2800" dirty="0" err="1"/>
              <a:t>many</a:t>
            </a:r>
            <a:r>
              <a:rPr lang="nl-BE" sz="2800" dirty="0"/>
              <a:t> </a:t>
            </a:r>
            <a:r>
              <a:rPr lang="nl-BE" sz="2800" dirty="0" err="1"/>
              <a:t>rows</a:t>
            </a:r>
            <a:endParaRPr lang="nl-BE" sz="2800" dirty="0"/>
          </a:p>
          <a:p>
            <a:endParaRPr lang="nl-BE" sz="2800" dirty="0"/>
          </a:p>
          <a:p>
            <a:r>
              <a:rPr lang="nl-BE" sz="2800" dirty="0" err="1"/>
              <a:t>again</a:t>
            </a:r>
            <a:r>
              <a:rPr lang="nl-BE" sz="2800" dirty="0"/>
              <a:t>, </a:t>
            </a:r>
            <a:r>
              <a:rPr lang="nl-BE" sz="2800" dirty="0" err="1"/>
              <a:t>use</a:t>
            </a:r>
            <a:r>
              <a:rPr lang="nl-BE" sz="2800" dirty="0"/>
              <a:t> </a:t>
            </a:r>
            <a:r>
              <a:rPr lang="nl-BE" sz="2800" dirty="0" err="1"/>
              <a:t>only</a:t>
            </a:r>
            <a:r>
              <a:rPr lang="nl-BE" sz="2800" dirty="0"/>
              <a:t> columns </a:t>
            </a:r>
            <a:r>
              <a:rPr lang="nl-BE" sz="2800" dirty="0" err="1"/>
              <a:t>you</a:t>
            </a:r>
            <a:r>
              <a:rPr lang="nl-BE" sz="2800" dirty="0"/>
              <a:t> </a:t>
            </a:r>
            <a:r>
              <a:rPr lang="nl-BE" sz="2800" dirty="0" err="1"/>
              <a:t>need</a:t>
            </a:r>
            <a:endParaRPr lang="nl-BE" sz="2800" dirty="0"/>
          </a:p>
          <a:p>
            <a:r>
              <a:rPr lang="nl-BE" sz="2800" dirty="0"/>
              <a:t>take </a:t>
            </a:r>
            <a:r>
              <a:rPr lang="nl-BE" sz="2800" dirty="0" err="1"/>
              <a:t>the</a:t>
            </a:r>
            <a:r>
              <a:rPr lang="nl-BE" sz="2800" dirty="0"/>
              <a:t> </a:t>
            </a:r>
            <a:r>
              <a:rPr lang="nl-BE" sz="2800" dirty="0" err="1"/>
              <a:t>smallest</a:t>
            </a:r>
            <a:r>
              <a:rPr lang="nl-BE" sz="2800" dirty="0"/>
              <a:t> data type </a:t>
            </a:r>
            <a:r>
              <a:rPr lang="nl-BE" sz="2800" dirty="0" err="1"/>
              <a:t>possible</a:t>
            </a:r>
            <a:endParaRPr lang="nl-BE" sz="2800" dirty="0"/>
          </a:p>
          <a:p>
            <a:r>
              <a:rPr lang="nl-BE" sz="2800" dirty="0" err="1"/>
              <a:t>avoid</a:t>
            </a:r>
            <a:r>
              <a:rPr lang="nl-BE" sz="2800" dirty="0"/>
              <a:t> BLOB </a:t>
            </a:r>
            <a:r>
              <a:rPr lang="nl-BE" sz="2800" dirty="0" err="1"/>
              <a:t>and</a:t>
            </a:r>
            <a:r>
              <a:rPr lang="nl-BE" sz="2800" dirty="0"/>
              <a:t> NVARCHAR as well</a:t>
            </a:r>
          </a:p>
        </p:txBody>
      </p:sp>
    </p:spTree>
    <p:extLst>
      <p:ext uri="{BB962C8B-B14F-4D97-AF65-F5344CB8AC3E}">
        <p14:creationId xmlns:p14="http://schemas.microsoft.com/office/powerpoint/2010/main" val="220018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B5B80-277F-993D-B962-4D0323B4B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333BC2-2B10-7D51-67F0-EF318035F1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good candidates for </a:t>
            </a:r>
            <a:br>
              <a:rPr lang="en-US" sz="2800" dirty="0"/>
            </a:br>
            <a:r>
              <a:rPr lang="en-US" sz="2800" dirty="0"/>
              <a:t>row/page compression</a:t>
            </a:r>
          </a:p>
          <a:p>
            <a:endParaRPr lang="en-US" sz="2800" dirty="0"/>
          </a:p>
          <a:p>
            <a:r>
              <a:rPr lang="en-US" sz="2800" dirty="0"/>
              <a:t>reduce size to 40% or more</a:t>
            </a:r>
          </a:p>
          <a:p>
            <a:r>
              <a:rPr lang="en-US" sz="2800" dirty="0"/>
              <a:t>less IO</a:t>
            </a:r>
          </a:p>
          <a:p>
            <a:endParaRPr lang="en-US" sz="2800" dirty="0"/>
          </a:p>
          <a:p>
            <a:r>
              <a:rPr lang="en-US" sz="2800" dirty="0"/>
              <a:t>available in Standard Edition</a:t>
            </a:r>
            <a:br>
              <a:rPr lang="en-US" sz="2800" dirty="0"/>
            </a:br>
            <a:r>
              <a:rPr lang="en-US" sz="2800" dirty="0"/>
              <a:t>since SQL Server 2016 SP1</a:t>
            </a:r>
            <a:endParaRPr lang="nl-BE" sz="2800" dirty="0"/>
          </a:p>
        </p:txBody>
      </p:sp>
      <p:pic>
        <p:nvPicPr>
          <p:cNvPr id="4" name="Picture 2" descr="Stress, Tension, Pressure, Stressing, Pain, Strain">
            <a:extLst>
              <a:ext uri="{FF2B5EF4-FFF2-40B4-BE49-F238E27FC236}">
                <a16:creationId xmlns:a16="http://schemas.microsoft.com/office/drawing/2014/main" id="{46B94C19-B5AF-E86A-8731-7CAE257B54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94" r="18194"/>
          <a:stretch>
            <a:fillRect/>
          </a:stretch>
        </p:blipFill>
        <p:spPr bwMode="auto">
          <a:xfrm>
            <a:off x="7035282" y="0"/>
            <a:ext cx="515671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25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349EB0E-0692-5DA2-70D9-2D75A67480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3" y="890954"/>
            <a:ext cx="12186757" cy="54292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9BFDD3-93D4-EB69-0505-8721D5FDFB10}"/>
              </a:ext>
            </a:extLst>
          </p:cNvPr>
          <p:cNvSpPr/>
          <p:nvPr/>
        </p:nvSpPr>
        <p:spPr>
          <a:xfrm>
            <a:off x="6760374" y="4319955"/>
            <a:ext cx="1005839" cy="73152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649F1-CDC4-C870-0633-D60A1B379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ging tabl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CB235-6558-6EFF-AB9B-C25AB32EE4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preferably a heap</a:t>
            </a:r>
          </a:p>
          <a:p>
            <a:endParaRPr lang="en-US" sz="2800" dirty="0"/>
          </a:p>
          <a:p>
            <a:r>
              <a:rPr lang="en-US" sz="2800" dirty="0"/>
              <a:t>truncate &amp; load</a:t>
            </a:r>
          </a:p>
          <a:p>
            <a:endParaRPr lang="en-US" sz="2800" dirty="0"/>
          </a:p>
          <a:p>
            <a:r>
              <a:rPr lang="en-US" sz="2800" dirty="0"/>
              <a:t>indexes only to improve SELECT queries</a:t>
            </a:r>
          </a:p>
          <a:p>
            <a:pPr lvl="1"/>
            <a:r>
              <a:rPr lang="en-US" sz="2400" dirty="0"/>
              <a:t>disable before load and rebuild after load</a:t>
            </a:r>
          </a:p>
          <a:p>
            <a:endParaRPr lang="en-US" sz="2800" dirty="0"/>
          </a:p>
          <a:p>
            <a:r>
              <a:rPr lang="en-US" sz="2800" dirty="0"/>
              <a:t>try incremental load for bigger tables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213793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38"/>
            <a:ext cx="11157987" cy="2852737"/>
          </a:xfrm>
        </p:spPr>
        <p:txBody>
          <a:bodyPr anchor="t">
            <a:normAutofit/>
          </a:bodyPr>
          <a:lstStyle/>
          <a:p>
            <a:r>
              <a:rPr lang="en-US" sz="8800" dirty="0"/>
              <a:t>let’s talk about SQL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3230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16BC4-19AC-DF79-E056-76845695F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ps &amp; tricks for the SELECT statement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56FA6F-DC9A-6B82-96A7-E02AB9DBEC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800" dirty="0"/>
              <a:t>filter as early as possible</a:t>
            </a:r>
          </a:p>
          <a:p>
            <a:endParaRPr lang="en-US" sz="2800" dirty="0"/>
          </a:p>
          <a:p>
            <a:r>
              <a:rPr lang="en-US" sz="2800" dirty="0"/>
              <a:t>use CTEs for readability</a:t>
            </a:r>
          </a:p>
          <a:p>
            <a:pPr lvl="1"/>
            <a:r>
              <a:rPr lang="en-US" sz="2400" dirty="0"/>
              <a:t>break-up with temp tables</a:t>
            </a:r>
            <a:br>
              <a:rPr lang="en-US" sz="2400" dirty="0"/>
            </a:br>
            <a:r>
              <a:rPr lang="en-US" sz="2400" dirty="0"/>
              <a:t>if performance is not OK</a:t>
            </a:r>
          </a:p>
          <a:p>
            <a:pPr lvl="1"/>
            <a:endParaRPr lang="en-US" sz="24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avoid correlated subqueries</a:t>
            </a:r>
          </a:p>
          <a:p>
            <a:endParaRPr lang="en-US" sz="2800" dirty="0"/>
          </a:p>
          <a:p>
            <a:r>
              <a:rPr lang="en-US" sz="2800" dirty="0"/>
              <a:t>watch out for</a:t>
            </a:r>
            <a:br>
              <a:rPr lang="en-US" sz="2800" dirty="0"/>
            </a:br>
            <a:r>
              <a:rPr lang="en-US" sz="2800" dirty="0"/>
              <a:t>parameter sniffing (again)</a:t>
            </a:r>
          </a:p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8C79C2-0E2B-CF51-EB39-F4A974DDEF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9357" y="1568749"/>
            <a:ext cx="3769459" cy="24288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E58834-FAC6-EE34-2EF7-34920ACC26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9356" y="4164599"/>
            <a:ext cx="4199715" cy="2012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53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fellowshipofminds.files.wordpress.com/2015/03/moses-and-the-ten-commandments.jpg">
            <a:extLst>
              <a:ext uri="{FF2B5EF4-FFF2-40B4-BE49-F238E27FC236}">
                <a16:creationId xmlns:a16="http://schemas.microsoft.com/office/drawing/2014/main" id="{420A9BEF-07CD-6CC1-29FC-310C5EA1FA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817"/>
          <a:stretch/>
        </p:blipFill>
        <p:spPr bwMode="auto">
          <a:xfrm>
            <a:off x="3704020" y="1209838"/>
            <a:ext cx="4368626" cy="4438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48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16BC4-19AC-DF79-E056-76845695F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s is not Oracle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56FA6F-DC9A-6B82-96A7-E02AB9DBEC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on’t use CURSOR</a:t>
            </a:r>
          </a:p>
          <a:p>
            <a:pPr lvl="1"/>
            <a:r>
              <a:rPr lang="en-US" sz="2400" dirty="0"/>
              <a:t>or WHILE loops</a:t>
            </a:r>
          </a:p>
          <a:p>
            <a:pPr lvl="1"/>
            <a:r>
              <a:rPr lang="en-US" sz="2400" dirty="0"/>
              <a:t>unless for management activities</a:t>
            </a:r>
          </a:p>
          <a:p>
            <a:pPr lvl="1"/>
            <a:r>
              <a:rPr lang="en-US" sz="2400" dirty="0"/>
              <a:t>avoid row-by-row operations</a:t>
            </a:r>
          </a:p>
          <a:p>
            <a:pPr lvl="1"/>
            <a:endParaRPr lang="en-US" sz="2400" dirty="0"/>
          </a:p>
          <a:p>
            <a:r>
              <a:rPr lang="en-US" sz="2800" dirty="0"/>
              <a:t>rather use tally table</a:t>
            </a:r>
            <a:br>
              <a:rPr lang="en-US" sz="2800" dirty="0"/>
            </a:br>
            <a:r>
              <a:rPr lang="en-US" sz="2800" dirty="0"/>
              <a:t>(numbers table)</a:t>
            </a:r>
            <a:br>
              <a:rPr lang="en-US" sz="2800" dirty="0"/>
            </a:br>
            <a:r>
              <a:rPr lang="en-US" sz="2800" dirty="0"/>
              <a:t>or window functions</a:t>
            </a:r>
          </a:p>
          <a:p>
            <a:pPr lvl="1"/>
            <a:r>
              <a:rPr lang="en-US" sz="2400" dirty="0"/>
              <a:t>set-based thinking FTW</a:t>
            </a:r>
          </a:p>
          <a:p>
            <a:endParaRPr lang="nl-BE" sz="2800" dirty="0"/>
          </a:p>
        </p:txBody>
      </p:sp>
      <p:pic>
        <p:nvPicPr>
          <p:cNvPr id="4" name="Picture Placeholder 6">
            <a:extLst>
              <a:ext uri="{FF2B5EF4-FFF2-40B4-BE49-F238E27FC236}">
                <a16:creationId xmlns:a16="http://schemas.microsoft.com/office/drawing/2014/main" id="{3EEE29C8-1389-60BE-E618-2768BD0AF0C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34" b="1534"/>
          <a:stretch>
            <a:fillRect/>
          </a:stretch>
        </p:blipFill>
        <p:spPr>
          <a:xfrm>
            <a:off x="6858000" y="0"/>
            <a:ext cx="533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07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0797C-04BB-1331-C658-4777B1990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oid user-defined function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232B59-7E8B-ED36-5E20-20C9F05F7B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f you need to use scalar functions</a:t>
            </a:r>
          </a:p>
          <a:p>
            <a:pPr lvl="1"/>
            <a:r>
              <a:rPr lang="en-US" dirty="0"/>
              <a:t>make sure they’re inline</a:t>
            </a:r>
          </a:p>
          <a:p>
            <a:pPr lvl="1"/>
            <a:r>
              <a:rPr lang="en-US" dirty="0"/>
              <a:t>set NULL ON NULL INPUT if applicable</a:t>
            </a:r>
          </a:p>
          <a:p>
            <a:pPr lvl="1"/>
            <a:r>
              <a:rPr lang="en-US" dirty="0"/>
              <a:t>minimize the data set over which they are calculated</a:t>
            </a:r>
          </a:p>
          <a:p>
            <a:pPr lvl="1"/>
            <a:endParaRPr lang="en-US" dirty="0"/>
          </a:p>
          <a:p>
            <a:r>
              <a:rPr lang="en-US" dirty="0"/>
              <a:t>use inline table-valued functions</a:t>
            </a:r>
          </a:p>
          <a:p>
            <a:pPr lvl="1"/>
            <a:endParaRPr lang="en-US" dirty="0"/>
          </a:p>
          <a:p>
            <a:r>
              <a:rPr lang="en-US" dirty="0"/>
              <a:t>multi-statement table-valued functions?</a:t>
            </a:r>
          </a:p>
          <a:p>
            <a:pPr lvl="1"/>
            <a:endParaRPr lang="nl-BE" dirty="0"/>
          </a:p>
          <a:p>
            <a:pPr lvl="1"/>
            <a:endParaRPr lang="nl-BE" dirty="0"/>
          </a:p>
          <a:p>
            <a:pPr marL="36000" indent="0">
              <a:buNone/>
            </a:pPr>
            <a:r>
              <a:rPr lang="nl-BE" dirty="0">
                <a:hlinkClick r:id="rId3"/>
              </a:rPr>
              <a:t>https://sqlserverfast.com/blog/hugo/2012/05/t-sql-user-defined-functions-the-good-the-bad-and-the-ugly-part-1/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CEA1AE-5274-0405-B5AD-AE2F00CDF2A4}"/>
              </a:ext>
            </a:extLst>
          </p:cNvPr>
          <p:cNvSpPr txBox="1"/>
          <p:nvPr/>
        </p:nvSpPr>
        <p:spPr>
          <a:xfrm>
            <a:off x="203688" y="2148071"/>
            <a:ext cx="12192000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700" dirty="0">
                <a:solidFill>
                  <a:srgbClr val="FF0000"/>
                </a:solidFill>
              </a:rPr>
              <a:t>NEVER</a:t>
            </a:r>
          </a:p>
        </p:txBody>
      </p:sp>
    </p:spTree>
    <p:extLst>
      <p:ext uri="{BB962C8B-B14F-4D97-AF65-F5344CB8AC3E}">
        <p14:creationId xmlns:p14="http://schemas.microsoft.com/office/powerpoint/2010/main" val="17795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00F838-93BD-46A0-9675-42AED121C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13800" dirty="0"/>
              <a:t>DEMO</a:t>
            </a:r>
            <a:endParaRPr lang="nl-BE" sz="138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E0D2489-6A42-4C2F-AC08-FE9B665498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046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38"/>
            <a:ext cx="11157987" cy="2852737"/>
          </a:xfrm>
        </p:spPr>
        <p:txBody>
          <a:bodyPr anchor="t">
            <a:normAutofit/>
          </a:bodyPr>
          <a:lstStyle/>
          <a:p>
            <a:r>
              <a:rPr lang="en-US" sz="8800" dirty="0"/>
              <a:t>what if your SQL</a:t>
            </a:r>
            <a:br>
              <a:rPr lang="en-US" sz="8800" dirty="0"/>
            </a:br>
            <a:r>
              <a:rPr lang="en-US" sz="8800" dirty="0"/>
              <a:t>is slow?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6659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index Archives - A Shot of SQLEspresso">
            <a:extLst>
              <a:ext uri="{FF2B5EF4-FFF2-40B4-BE49-F238E27FC236}">
                <a16:creationId xmlns:a16="http://schemas.microsoft.com/office/drawing/2014/main" id="{DA1D34F8-905B-D369-B7A5-F42A9E6A7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662" y="1002277"/>
            <a:ext cx="5281321" cy="522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72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94FEC09-6193-C411-AA74-9BBCA9AF0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ustered index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688A7F8-8A63-C1D3-6DE8-C348BD6E0F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very table wants o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an be an identity column</a:t>
            </a:r>
          </a:p>
          <a:p>
            <a:pPr marL="0" indent="0">
              <a:buNone/>
            </a:pPr>
            <a:r>
              <a:rPr lang="en-US" dirty="0"/>
              <a:t>can be a date or other</a:t>
            </a:r>
            <a:br>
              <a:rPr lang="en-US" dirty="0"/>
            </a:br>
            <a:r>
              <a:rPr lang="en-US" dirty="0"/>
              <a:t>partitioning colum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olumn order matters</a:t>
            </a:r>
          </a:p>
        </p:txBody>
      </p:sp>
      <p:pic>
        <p:nvPicPr>
          <p:cNvPr id="6" name="Picture 2" descr="List, Names, Table, Personal Data, Data, Column">
            <a:extLst>
              <a:ext uri="{FF2B5EF4-FFF2-40B4-BE49-F238E27FC236}">
                <a16:creationId xmlns:a16="http://schemas.microsoft.com/office/drawing/2014/main" id="{B7BB8099-8674-3FCF-65A7-5B3FC952E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7" b="9277"/>
          <a:stretch>
            <a:fillRect/>
          </a:stretch>
        </p:blipFill>
        <p:spPr bwMode="auto">
          <a:xfrm>
            <a:off x="6613525" y="0"/>
            <a:ext cx="55784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487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F7B53-AFDD-5296-032C-6A0389744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clustered</a:t>
            </a:r>
            <a:r>
              <a:rPr lang="nl-BE" dirty="0"/>
              <a:t> inde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F33530-AC31-DF28-0EFC-88C4405FFA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peed up SELECT queri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mpacts other queries, especially DML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extra copy of the dat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keep an eye out for unused indexes</a:t>
            </a:r>
          </a:p>
          <a:p>
            <a:pPr marL="0" indent="0">
              <a:buNone/>
            </a:pPr>
            <a:endParaRPr lang="nl-BE" dirty="0"/>
          </a:p>
        </p:txBody>
      </p:sp>
      <p:pic>
        <p:nvPicPr>
          <p:cNvPr id="4" name="Picture 2" descr="Recipe, Tab, Index, Cards, Dividers, Print, Food, Book">
            <a:extLst>
              <a:ext uri="{FF2B5EF4-FFF2-40B4-BE49-F238E27FC236}">
                <a16:creationId xmlns:a16="http://schemas.microsoft.com/office/drawing/2014/main" id="{AAC5689A-D9D2-D942-B8A7-2BD23781B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61" r="22461"/>
          <a:stretch>
            <a:fillRect/>
          </a:stretch>
        </p:blipFill>
        <p:spPr bwMode="auto">
          <a:xfrm>
            <a:off x="6526213" y="0"/>
            <a:ext cx="56657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16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F7894-8162-3B2B-AC62-3A4B5B0AC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olumnstore index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10D406-E622-6B54-EB8F-F96C5AE655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specially useful for data warehous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ypically the entire tabl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an be used with in-memory OLTP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rerequisite for batch mode</a:t>
            </a:r>
            <a:br>
              <a:rPr lang="en-US" dirty="0"/>
            </a:br>
            <a:r>
              <a:rPr lang="en-US" dirty="0"/>
              <a:t>(&lt; SQL Server 2019)</a:t>
            </a:r>
          </a:p>
        </p:txBody>
      </p:sp>
      <p:pic>
        <p:nvPicPr>
          <p:cNvPr id="4" name="Picture 2" descr="Building Blocks, Toys, Block, Building, Construction">
            <a:extLst>
              <a:ext uri="{FF2B5EF4-FFF2-40B4-BE49-F238E27FC236}">
                <a16:creationId xmlns:a16="http://schemas.microsoft.com/office/drawing/2014/main" id="{DCF4F9FA-0AC4-D245-BF41-DB7CB9B7A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r="19288"/>
          <a:stretch>
            <a:fillRect/>
          </a:stretch>
        </p:blipFill>
        <p:spPr bwMode="auto">
          <a:xfrm>
            <a:off x="6575425" y="0"/>
            <a:ext cx="56165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54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96CCCF-AA86-A880-6671-F306C3311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</a:t>
            </a:r>
            <a:endParaRPr lang="nl-B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3F48CF7-B690-77C7-AB05-9826462BC45A}"/>
              </a:ext>
            </a:extLst>
          </p:cNvPr>
          <p:cNvGrpSpPr/>
          <p:nvPr/>
        </p:nvGrpSpPr>
        <p:grpSpPr>
          <a:xfrm>
            <a:off x="2099556" y="3007005"/>
            <a:ext cx="2160240" cy="2016224"/>
            <a:chOff x="539552" y="3429000"/>
            <a:chExt cx="2160240" cy="2016224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57909A1A-607C-9C9E-FD4B-BBF5EAFCC137}"/>
                </a:ext>
              </a:extLst>
            </p:cNvPr>
            <p:cNvSpPr/>
            <p:nvPr/>
          </p:nvSpPr>
          <p:spPr>
            <a:xfrm>
              <a:off x="539552" y="3429000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240EBC1-12AA-543C-9022-32C7FBA59146}"/>
                </a:ext>
              </a:extLst>
            </p:cNvPr>
            <p:cNvGrpSpPr/>
            <p:nvPr/>
          </p:nvGrpSpPr>
          <p:grpSpPr>
            <a:xfrm>
              <a:off x="899592" y="4087958"/>
              <a:ext cx="1440160" cy="369332"/>
              <a:chOff x="3995936" y="2708920"/>
              <a:chExt cx="1440160" cy="369332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50A6059-44C9-D80D-BE8D-07791A6D7C18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98861E5-F421-7A86-3D56-E1A5A4A18849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4F8B8E5-D781-5C41-D6B5-9691C486A26D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8C368A5-8A53-D3EF-F70E-7415D13E7618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8C02BE0-CA14-A434-F3AF-5D4EFBF086EF}"/>
                </a:ext>
              </a:extLst>
            </p:cNvPr>
            <p:cNvGrpSpPr/>
            <p:nvPr/>
          </p:nvGrpSpPr>
          <p:grpSpPr>
            <a:xfrm>
              <a:off x="899592" y="4528292"/>
              <a:ext cx="1440160" cy="369332"/>
              <a:chOff x="3995936" y="2708920"/>
              <a:chExt cx="1440160" cy="369332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43F3DEE-290A-50C0-90B8-8F51B1FEA4D1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F7F2677-D15C-7701-C73C-309E62FF1BD3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8535422-4861-3FCC-32CF-3DE5CD1A1FB5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6847840-99EB-7A23-2D99-E0FBD6A63DDB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0909406-AB13-FE33-6F47-4A6C4082EF4C}"/>
                </a:ext>
              </a:extLst>
            </p:cNvPr>
            <p:cNvGrpSpPr/>
            <p:nvPr/>
          </p:nvGrpSpPr>
          <p:grpSpPr>
            <a:xfrm>
              <a:off x="899592" y="3645024"/>
              <a:ext cx="1440160" cy="369332"/>
              <a:chOff x="899592" y="3284984"/>
              <a:chExt cx="1440160" cy="369332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AB8E9AB-9C1A-89E9-A98F-DA8FBBB222A1}"/>
                  </a:ext>
                </a:extLst>
              </p:cNvPr>
              <p:cNvSpPr txBox="1"/>
              <p:nvPr/>
            </p:nvSpPr>
            <p:spPr>
              <a:xfrm>
                <a:off x="899592" y="3284984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8A73551-506B-AE84-9C5A-71F0513B99E4}"/>
                  </a:ext>
                </a:extLst>
              </p:cNvPr>
              <p:cNvSpPr txBox="1"/>
              <p:nvPr/>
            </p:nvSpPr>
            <p:spPr>
              <a:xfrm>
                <a:off x="1259632" y="3284984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76F9CA1-7471-6384-D636-B04082C8B073}"/>
                  </a:ext>
                </a:extLst>
              </p:cNvPr>
              <p:cNvSpPr txBox="1"/>
              <p:nvPr/>
            </p:nvSpPr>
            <p:spPr>
              <a:xfrm>
                <a:off x="1619672" y="3284984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8E9261B-3E12-5449-9085-294B0FB193C0}"/>
                  </a:ext>
                </a:extLst>
              </p:cNvPr>
              <p:cNvSpPr txBox="1"/>
              <p:nvPr/>
            </p:nvSpPr>
            <p:spPr>
              <a:xfrm>
                <a:off x="1979712" y="3284984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95C8BB4-0DC2-0157-EAFA-C318871300A5}"/>
              </a:ext>
            </a:extLst>
          </p:cNvPr>
          <p:cNvGrpSpPr/>
          <p:nvPr/>
        </p:nvGrpSpPr>
        <p:grpSpPr>
          <a:xfrm>
            <a:off x="4259796" y="5743309"/>
            <a:ext cx="3672408" cy="504056"/>
            <a:chOff x="2699792" y="4941168"/>
            <a:chExt cx="3672408" cy="504056"/>
          </a:xfrm>
        </p:grpSpPr>
        <p:sp>
          <p:nvSpPr>
            <p:cNvPr id="22" name="Can 3">
              <a:extLst>
                <a:ext uri="{FF2B5EF4-FFF2-40B4-BE49-F238E27FC236}">
                  <a16:creationId xmlns:a16="http://schemas.microsoft.com/office/drawing/2014/main" id="{44BB3BE4-295C-5249-EBAD-FF818D0D8369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F6476C4-BB11-6E8A-7C92-0C1C47C337C7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1C55F8E-A939-750E-6732-E6CF4FCB271E}"/>
              </a:ext>
            </a:extLst>
          </p:cNvPr>
          <p:cNvGrpSpPr/>
          <p:nvPr/>
        </p:nvGrpSpPr>
        <p:grpSpPr>
          <a:xfrm>
            <a:off x="5015880" y="3007005"/>
            <a:ext cx="2160240" cy="2016224"/>
            <a:chOff x="539552" y="2492896"/>
            <a:chExt cx="2160240" cy="2016224"/>
          </a:xfrm>
        </p:grpSpPr>
        <p:sp>
          <p:nvSpPr>
            <p:cNvPr id="25" name="Rounded Rectangle 28">
              <a:extLst>
                <a:ext uri="{FF2B5EF4-FFF2-40B4-BE49-F238E27FC236}">
                  <a16:creationId xmlns:a16="http://schemas.microsoft.com/office/drawing/2014/main" id="{A67D1A0F-7D24-354A-34F1-61E2C3F4B06F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26" name="Group 12">
              <a:extLst>
                <a:ext uri="{FF2B5EF4-FFF2-40B4-BE49-F238E27FC236}">
                  <a16:creationId xmlns:a16="http://schemas.microsoft.com/office/drawing/2014/main" id="{65155A43-2443-366C-13D1-8B2008C87E57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90C8A778-87FA-031A-CF02-802CE60EE9D1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DE57137-B625-0ACB-E66D-A2E78C98CB55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C4791E3D-E7DD-456C-F723-3427BA41A357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4FAA8345-358C-9B2F-E426-80B935F5587D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27" name="Group 15">
              <a:extLst>
                <a:ext uri="{FF2B5EF4-FFF2-40B4-BE49-F238E27FC236}">
                  <a16:creationId xmlns:a16="http://schemas.microsoft.com/office/drawing/2014/main" id="{5792B490-A84C-D483-7D84-8D2993C7AFE3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C6A2039-5736-9937-ABE1-05A3912D80CF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33467B21-CFC4-FAAF-BDFD-BE60448F3269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1069392D-BDC2-0B45-6429-48F78414923C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21FF5512-A462-1565-4D65-733C5B0CCBFE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28" name="Group 20">
              <a:extLst>
                <a:ext uri="{FF2B5EF4-FFF2-40B4-BE49-F238E27FC236}">
                  <a16:creationId xmlns:a16="http://schemas.microsoft.com/office/drawing/2014/main" id="{4643C54B-FB08-27CE-7344-FD3398A0FB5F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A2FA44E-CD58-8999-2988-D475B999C6F3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4150B4B6-42BB-76D9-499D-D7751320DC16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DEE0D0A-53AE-08C6-381A-13F1CEB1FC74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F76CD55-B0CA-541C-2DFE-0440EAFC4597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24334E5-D91B-03BD-0F75-7D02536705C8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FFFDC09-93C5-1192-2EB8-879DCACAFD92}"/>
              </a:ext>
            </a:extLst>
          </p:cNvPr>
          <p:cNvGrpSpPr/>
          <p:nvPr/>
        </p:nvGrpSpPr>
        <p:grpSpPr>
          <a:xfrm>
            <a:off x="7932204" y="3007005"/>
            <a:ext cx="2160240" cy="2016224"/>
            <a:chOff x="539552" y="2492896"/>
            <a:chExt cx="2160240" cy="2016224"/>
          </a:xfrm>
        </p:grpSpPr>
        <p:sp>
          <p:nvSpPr>
            <p:cNvPr id="43" name="Rounded Rectangle 46">
              <a:extLst>
                <a:ext uri="{FF2B5EF4-FFF2-40B4-BE49-F238E27FC236}">
                  <a16:creationId xmlns:a16="http://schemas.microsoft.com/office/drawing/2014/main" id="{3A0F394E-9092-7682-135D-54EEC0CEEE21}"/>
                </a:ext>
              </a:extLst>
            </p:cNvPr>
            <p:cNvSpPr/>
            <p:nvPr/>
          </p:nvSpPr>
          <p:spPr>
            <a:xfrm>
              <a:off x="539552" y="2492896"/>
              <a:ext cx="2160240" cy="2016224"/>
            </a:xfrm>
            <a:prstGeom prst="roundRect">
              <a:avLst/>
            </a:prstGeom>
            <a:solidFill>
              <a:srgbClr val="3AB8F1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44" name="Group 12">
              <a:extLst>
                <a:ext uri="{FF2B5EF4-FFF2-40B4-BE49-F238E27FC236}">
                  <a16:creationId xmlns:a16="http://schemas.microsoft.com/office/drawing/2014/main" id="{ED4E9390-F661-49CA-94E3-49ABE143176D}"/>
                </a:ext>
              </a:extLst>
            </p:cNvPr>
            <p:cNvGrpSpPr/>
            <p:nvPr/>
          </p:nvGrpSpPr>
          <p:grpSpPr>
            <a:xfrm>
              <a:off x="899592" y="2708920"/>
              <a:ext cx="1440160" cy="369332"/>
              <a:chOff x="3995936" y="2708920"/>
              <a:chExt cx="1440160" cy="369332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76EBB5A7-13F6-BB1C-CA8B-CFDD667F7907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58F7CE0D-69F5-0342-2EBA-65C362A0ED5D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5445796C-B9FD-476A-7973-6EE9B81E196D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EC6AB5EC-6685-FB52-9FF5-3D2567F97AD9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5" name="Group 15">
              <a:extLst>
                <a:ext uri="{FF2B5EF4-FFF2-40B4-BE49-F238E27FC236}">
                  <a16:creationId xmlns:a16="http://schemas.microsoft.com/office/drawing/2014/main" id="{16FE63DB-BF03-C995-426D-D92C1F2BD31B}"/>
                </a:ext>
              </a:extLst>
            </p:cNvPr>
            <p:cNvGrpSpPr/>
            <p:nvPr/>
          </p:nvGrpSpPr>
          <p:grpSpPr>
            <a:xfrm>
              <a:off x="899592" y="3151854"/>
              <a:ext cx="1440160" cy="369332"/>
              <a:chOff x="3995936" y="2708920"/>
              <a:chExt cx="1440160" cy="369332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08B4086C-DE7A-84E4-11F5-F1E0310D8D03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A3AA69A3-55C1-2E95-B272-0E7E26152F31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3DD3A281-054D-1EAA-9A69-BC99A22F84FA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6EFDA76C-8FCA-541B-022F-475DDFCB7BD0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grpSp>
          <p:nvGrpSpPr>
            <p:cNvPr id="46" name="Group 20">
              <a:extLst>
                <a:ext uri="{FF2B5EF4-FFF2-40B4-BE49-F238E27FC236}">
                  <a16:creationId xmlns:a16="http://schemas.microsoft.com/office/drawing/2014/main" id="{E7D9845E-C4A6-B933-1876-F477309E662D}"/>
                </a:ext>
              </a:extLst>
            </p:cNvPr>
            <p:cNvGrpSpPr/>
            <p:nvPr/>
          </p:nvGrpSpPr>
          <p:grpSpPr>
            <a:xfrm>
              <a:off x="899592" y="3592188"/>
              <a:ext cx="1440160" cy="369332"/>
              <a:chOff x="3995936" y="2708920"/>
              <a:chExt cx="1440160" cy="369332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809FBB68-69FC-5906-8276-40FCF33423DB}"/>
                  </a:ext>
                </a:extLst>
              </p:cNvPr>
              <p:cNvSpPr txBox="1"/>
              <p:nvPr/>
            </p:nvSpPr>
            <p:spPr>
              <a:xfrm>
                <a:off x="3995936" y="2708920"/>
                <a:ext cx="360040" cy="369332"/>
              </a:xfrm>
              <a:prstGeom prst="rect">
                <a:avLst/>
              </a:prstGeom>
              <a:solidFill>
                <a:srgbClr val="96C45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A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9E348EA9-672A-0354-F34A-3773555E3785}"/>
                  </a:ext>
                </a:extLst>
              </p:cNvPr>
              <p:cNvSpPr txBox="1"/>
              <p:nvPr/>
            </p:nvSpPr>
            <p:spPr>
              <a:xfrm>
                <a:off x="4355976" y="2708920"/>
                <a:ext cx="360040" cy="369332"/>
              </a:xfrm>
              <a:prstGeom prst="rect">
                <a:avLst/>
              </a:prstGeom>
              <a:solidFill>
                <a:srgbClr val="FCB219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B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6089028-C42E-D89F-2171-FF28EC81B86A}"/>
                  </a:ext>
                </a:extLst>
              </p:cNvPr>
              <p:cNvSpPr txBox="1"/>
              <p:nvPr/>
            </p:nvSpPr>
            <p:spPr>
              <a:xfrm>
                <a:off x="4716016" y="2708920"/>
                <a:ext cx="360040" cy="369332"/>
              </a:xfrm>
              <a:prstGeom prst="rect">
                <a:avLst/>
              </a:prstGeom>
              <a:solidFill>
                <a:srgbClr val="E71F28">
                  <a:lumMod val="60000"/>
                  <a:lumOff val="40000"/>
                </a:srgbClr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C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72DFED20-4C9F-161A-C9AA-57FC401BDF50}"/>
                  </a:ext>
                </a:extLst>
              </p:cNvPr>
              <p:cNvSpPr txBox="1"/>
              <p:nvPr/>
            </p:nvSpPr>
            <p:spPr>
              <a:xfrm>
                <a:off x="5076056" y="2708920"/>
                <a:ext cx="360040" cy="369332"/>
              </a:xfrm>
              <a:prstGeom prst="rect">
                <a:avLst/>
              </a:prstGeom>
              <a:solidFill>
                <a:srgbClr val="FFFF79"/>
              </a:solidFill>
              <a:ln w="25400">
                <a:solidFill>
                  <a:srgbClr val="969696"/>
                </a:solidFill>
              </a:ln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</a:rPr>
                  <a:t>D</a:t>
                </a: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82421BC-D248-06BF-A016-6927B61290E6}"/>
                </a:ext>
              </a:extLst>
            </p:cNvPr>
            <p:cNvSpPr txBox="1"/>
            <p:nvPr/>
          </p:nvSpPr>
          <p:spPr>
            <a:xfrm>
              <a:off x="1187624" y="4109010"/>
              <a:ext cx="792088" cy="40011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page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8B038B36-9B34-2AA1-7B8A-B4D01E0CDFED}"/>
              </a:ext>
            </a:extLst>
          </p:cNvPr>
          <p:cNvSpPr txBox="1"/>
          <p:nvPr/>
        </p:nvSpPr>
        <p:spPr>
          <a:xfrm>
            <a:off x="840233" y="1419494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b="1" dirty="0">
                <a:solidFill>
                  <a:srgbClr val="F47321"/>
                </a:solidFill>
                <a:latin typeface="Segoe UI Light"/>
              </a:rPr>
              <a:t>SELECT A</a:t>
            </a:r>
            <a:br>
              <a:rPr lang="nl-BE" b="1" dirty="0">
                <a:solidFill>
                  <a:srgbClr val="F47321"/>
                </a:solidFill>
                <a:latin typeface="Segoe UI Light"/>
              </a:rPr>
            </a:br>
            <a:r>
              <a:rPr lang="nl-BE" b="1" dirty="0">
                <a:solidFill>
                  <a:srgbClr val="F47321"/>
                </a:solidFill>
                <a:latin typeface="Segoe UI Light"/>
              </a:rPr>
              <a:t>FROM myTable;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7BDAFFC-9C43-7EBA-5208-462A7D8AC255}"/>
              </a:ext>
            </a:extLst>
          </p:cNvPr>
          <p:cNvGrpSpPr/>
          <p:nvPr/>
        </p:nvGrpSpPr>
        <p:grpSpPr>
          <a:xfrm>
            <a:off x="5339916" y="3201257"/>
            <a:ext cx="1512168" cy="1274372"/>
            <a:chOff x="856048" y="3274098"/>
            <a:chExt cx="1512168" cy="1274372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2C188359-EA18-6BDD-1280-6EDBCB5F9EFB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694AF00-2176-A9A1-4A66-6E92BE99DBFA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64C5E44-AB0C-5527-C5E5-49DEC187B95E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2D2FB19-93C5-F7F4-B0B5-7E8CD42AA437}"/>
              </a:ext>
            </a:extLst>
          </p:cNvPr>
          <p:cNvGrpSpPr/>
          <p:nvPr/>
        </p:nvGrpSpPr>
        <p:grpSpPr>
          <a:xfrm>
            <a:off x="8220236" y="3194565"/>
            <a:ext cx="1512168" cy="1274372"/>
            <a:chOff x="856048" y="3274098"/>
            <a:chExt cx="1512168" cy="1274372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963832B-437B-4324-E583-806C5282ABE6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36C0BF4E-E57F-29F7-A1F3-17878436F787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1260350D-2945-EA29-313F-0A3DF9B18563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69" name="Right Arrow 77">
            <a:extLst>
              <a:ext uri="{FF2B5EF4-FFF2-40B4-BE49-F238E27FC236}">
                <a16:creationId xmlns:a16="http://schemas.microsoft.com/office/drawing/2014/main" id="{AA03BB59-C68F-C005-EBB5-CC37A7ABC042}"/>
              </a:ext>
            </a:extLst>
          </p:cNvPr>
          <p:cNvSpPr/>
          <p:nvPr/>
        </p:nvSpPr>
        <p:spPr>
          <a:xfrm rot="14764633">
            <a:off x="3901141" y="5157586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0" name="Right Arrow 78">
            <a:extLst>
              <a:ext uri="{FF2B5EF4-FFF2-40B4-BE49-F238E27FC236}">
                <a16:creationId xmlns:a16="http://schemas.microsoft.com/office/drawing/2014/main" id="{387B5455-71F5-4983-4335-94CBCC7C13A5}"/>
              </a:ext>
            </a:extLst>
          </p:cNvPr>
          <p:cNvSpPr/>
          <p:nvPr/>
        </p:nvSpPr>
        <p:spPr>
          <a:xfrm rot="16200000">
            <a:off x="5851293" y="5157585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1" name="Right Arrow 79">
            <a:extLst>
              <a:ext uri="{FF2B5EF4-FFF2-40B4-BE49-F238E27FC236}">
                <a16:creationId xmlns:a16="http://schemas.microsoft.com/office/drawing/2014/main" id="{9EA91318-78B3-E3BB-AD15-3C3EACA57B5F}"/>
              </a:ext>
            </a:extLst>
          </p:cNvPr>
          <p:cNvSpPr/>
          <p:nvPr/>
        </p:nvSpPr>
        <p:spPr>
          <a:xfrm rot="17640000">
            <a:off x="7873314" y="5157586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CA90C6B-6590-8DD5-3DD3-A160A73FF3D9}"/>
              </a:ext>
            </a:extLst>
          </p:cNvPr>
          <p:cNvSpPr txBox="1"/>
          <p:nvPr/>
        </p:nvSpPr>
        <p:spPr>
          <a:xfrm>
            <a:off x="5898402" y="215379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DCE4C1C-46C9-3C3E-13F9-5FA6C671A063}"/>
              </a:ext>
            </a:extLst>
          </p:cNvPr>
          <p:cNvSpPr txBox="1"/>
          <p:nvPr/>
        </p:nvSpPr>
        <p:spPr>
          <a:xfrm>
            <a:off x="2747628" y="4623119"/>
            <a:ext cx="792088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nl-BE" sz="2000" b="1">
                <a:solidFill>
                  <a:prstClr val="white"/>
                </a:solidFill>
                <a:latin typeface="Segoe UI Light"/>
              </a:rPr>
              <a:t>page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9EF12CC-58AB-CEFA-FB18-6BC61F08E6A0}"/>
              </a:ext>
            </a:extLst>
          </p:cNvPr>
          <p:cNvGrpSpPr/>
          <p:nvPr/>
        </p:nvGrpSpPr>
        <p:grpSpPr>
          <a:xfrm>
            <a:off x="2416052" y="3212143"/>
            <a:ext cx="1512168" cy="1274372"/>
            <a:chOff x="856048" y="3274098"/>
            <a:chExt cx="1512168" cy="1274372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8F6D58D-2523-4095-24D6-983251F93FA0}"/>
                </a:ext>
              </a:extLst>
            </p:cNvPr>
            <p:cNvSpPr/>
            <p:nvPr/>
          </p:nvSpPr>
          <p:spPr>
            <a:xfrm>
              <a:off x="856048" y="3274098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1DB6E61-CDBD-3AA8-0F63-67B4ABCBBE0E}"/>
                </a:ext>
              </a:extLst>
            </p:cNvPr>
            <p:cNvSpPr/>
            <p:nvPr/>
          </p:nvSpPr>
          <p:spPr>
            <a:xfrm>
              <a:off x="856048" y="3711589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85F77E6-515B-F449-E341-A6134E1AC42F}"/>
                </a:ext>
              </a:extLst>
            </p:cNvPr>
            <p:cNvSpPr/>
            <p:nvPr/>
          </p:nvSpPr>
          <p:spPr>
            <a:xfrm>
              <a:off x="856048" y="4149080"/>
              <a:ext cx="1512168" cy="399390"/>
            </a:xfrm>
            <a:prstGeom prst="rect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9A1D7586-C668-CF37-C2BB-8D6D14D5806C}"/>
              </a:ext>
            </a:extLst>
          </p:cNvPr>
          <p:cNvSpPr txBox="1"/>
          <p:nvPr/>
        </p:nvSpPr>
        <p:spPr>
          <a:xfrm>
            <a:off x="5898402" y="17937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9DB003B-FDF7-C35A-08B3-DA0174AA0C27}"/>
              </a:ext>
            </a:extLst>
          </p:cNvPr>
          <p:cNvSpPr txBox="1"/>
          <p:nvPr/>
        </p:nvSpPr>
        <p:spPr>
          <a:xfrm>
            <a:off x="4475820" y="250294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B3E4683-31B4-279D-72A8-C56C304B547D}"/>
              </a:ext>
            </a:extLst>
          </p:cNvPr>
          <p:cNvSpPr txBox="1"/>
          <p:nvPr/>
        </p:nvSpPr>
        <p:spPr>
          <a:xfrm>
            <a:off x="4475820" y="214290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B757DC3-7B5C-6BC2-26E8-7B1DB419F2C2}"/>
              </a:ext>
            </a:extLst>
          </p:cNvPr>
          <p:cNvSpPr txBox="1"/>
          <p:nvPr/>
        </p:nvSpPr>
        <p:spPr>
          <a:xfrm>
            <a:off x="4475820" y="1782869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39E55A6-AEC1-01D6-8768-EBB34F214F2C}"/>
              </a:ext>
            </a:extLst>
          </p:cNvPr>
          <p:cNvSpPr txBox="1"/>
          <p:nvPr/>
        </p:nvSpPr>
        <p:spPr>
          <a:xfrm>
            <a:off x="5898402" y="2523127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ADE19E2-B321-6777-3A4E-CDE23D9E4EDE}"/>
              </a:ext>
            </a:extLst>
          </p:cNvPr>
          <p:cNvCxnSpPr>
            <a:stCxn id="9" idx="0"/>
            <a:endCxn id="81" idx="1"/>
          </p:cNvCxnSpPr>
          <p:nvPr/>
        </p:nvCxnSpPr>
        <p:spPr>
          <a:xfrm flipV="1">
            <a:off x="2639616" y="1967535"/>
            <a:ext cx="1836204" cy="125549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26E79A4A-23B4-1D9C-E17F-1711E97388C5}"/>
              </a:ext>
            </a:extLst>
          </p:cNvPr>
          <p:cNvCxnSpPr>
            <a:stCxn id="17" idx="0"/>
            <a:endCxn id="80" idx="1"/>
          </p:cNvCxnSpPr>
          <p:nvPr/>
        </p:nvCxnSpPr>
        <p:spPr>
          <a:xfrm flipV="1">
            <a:off x="2639616" y="2327575"/>
            <a:ext cx="1836204" cy="133838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544D9094-813B-8A5A-AD67-A83F2DD12A56}"/>
              </a:ext>
            </a:extLst>
          </p:cNvPr>
          <p:cNvCxnSpPr>
            <a:stCxn id="13" idx="0"/>
            <a:endCxn id="79" idx="1"/>
          </p:cNvCxnSpPr>
          <p:nvPr/>
        </p:nvCxnSpPr>
        <p:spPr>
          <a:xfrm flipV="1">
            <a:off x="2639616" y="2687615"/>
            <a:ext cx="1836204" cy="141868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DF6F10C7-96BB-8061-F950-FE6EA922DEB6}"/>
              </a:ext>
            </a:extLst>
          </p:cNvPr>
          <p:cNvSpPr txBox="1"/>
          <p:nvPr/>
        </p:nvSpPr>
        <p:spPr>
          <a:xfrm>
            <a:off x="7356140" y="215379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6A9BC14-3B43-E020-68A6-2B6C98CCE774}"/>
              </a:ext>
            </a:extLst>
          </p:cNvPr>
          <p:cNvSpPr txBox="1"/>
          <p:nvPr/>
        </p:nvSpPr>
        <p:spPr>
          <a:xfrm>
            <a:off x="7356140" y="1793755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42382C9-9533-41FE-7D07-963ED9971843}"/>
              </a:ext>
            </a:extLst>
          </p:cNvPr>
          <p:cNvSpPr txBox="1"/>
          <p:nvPr/>
        </p:nvSpPr>
        <p:spPr>
          <a:xfrm>
            <a:off x="7356140" y="2523127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E16834BA-AF8D-01AF-E11C-E72887A8C30A}"/>
              </a:ext>
            </a:extLst>
          </p:cNvPr>
          <p:cNvCxnSpPr>
            <a:stCxn id="38" idx="0"/>
            <a:endCxn id="78" idx="1"/>
          </p:cNvCxnSpPr>
          <p:nvPr/>
        </p:nvCxnSpPr>
        <p:spPr>
          <a:xfrm flipV="1">
            <a:off x="5555940" y="1978421"/>
            <a:ext cx="342462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2C2098E3-6EEF-178D-1C00-23E21A237773}"/>
              </a:ext>
            </a:extLst>
          </p:cNvPr>
          <p:cNvCxnSpPr>
            <a:stCxn id="34" idx="0"/>
            <a:endCxn id="72" idx="1"/>
          </p:cNvCxnSpPr>
          <p:nvPr/>
        </p:nvCxnSpPr>
        <p:spPr>
          <a:xfrm flipV="1">
            <a:off x="5555940" y="2338461"/>
            <a:ext cx="342462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255E1D76-0A61-4576-06FB-8B00F1E0B787}"/>
              </a:ext>
            </a:extLst>
          </p:cNvPr>
          <p:cNvCxnSpPr>
            <a:stCxn id="30" idx="0"/>
            <a:endCxn id="82" idx="1"/>
          </p:cNvCxnSpPr>
          <p:nvPr/>
        </p:nvCxnSpPr>
        <p:spPr>
          <a:xfrm flipV="1">
            <a:off x="5555940" y="2707793"/>
            <a:ext cx="342462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9A3D08BC-1401-CCC4-43CE-3B4C28E1F22C}"/>
              </a:ext>
            </a:extLst>
          </p:cNvPr>
          <p:cNvCxnSpPr>
            <a:stCxn id="56" idx="0"/>
            <a:endCxn id="87" idx="3"/>
          </p:cNvCxnSpPr>
          <p:nvPr/>
        </p:nvCxnSpPr>
        <p:spPr>
          <a:xfrm flipH="1" flipV="1">
            <a:off x="7716180" y="1978421"/>
            <a:ext cx="756084" cy="12446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F5FC6B73-8E5E-9312-BC71-F3CC4E5DC740}"/>
              </a:ext>
            </a:extLst>
          </p:cNvPr>
          <p:cNvCxnSpPr>
            <a:stCxn id="52" idx="0"/>
            <a:endCxn id="86" idx="3"/>
          </p:cNvCxnSpPr>
          <p:nvPr/>
        </p:nvCxnSpPr>
        <p:spPr>
          <a:xfrm flipH="1" flipV="1">
            <a:off x="7716180" y="2338461"/>
            <a:ext cx="756084" cy="13275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B5E4062A-5A53-5F25-B55C-58059E2E37F7}"/>
              </a:ext>
            </a:extLst>
          </p:cNvPr>
          <p:cNvCxnSpPr>
            <a:stCxn id="48" idx="0"/>
            <a:endCxn id="88" idx="3"/>
          </p:cNvCxnSpPr>
          <p:nvPr/>
        </p:nvCxnSpPr>
        <p:spPr>
          <a:xfrm flipH="1" flipV="1">
            <a:off x="7716180" y="2707793"/>
            <a:ext cx="756084" cy="1398504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95023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9" grpId="0" animBg="1"/>
      <p:bldP spid="70" grpId="0" animBg="1"/>
      <p:bldP spid="71" grpId="0" animBg="1"/>
      <p:bldP spid="72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6" grpId="0" animBg="1"/>
      <p:bldP spid="87" grpId="0" animBg="1"/>
      <p:bldP spid="88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50D98-72BD-2390-01AC-80FEC7911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umnstore</a:t>
            </a:r>
            <a:endParaRPr lang="nl-B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F0BACE8-4FEB-A204-AACF-A1FB676F1B6A}"/>
              </a:ext>
            </a:extLst>
          </p:cNvPr>
          <p:cNvGrpSpPr/>
          <p:nvPr/>
        </p:nvGrpSpPr>
        <p:grpSpPr>
          <a:xfrm>
            <a:off x="4170373" y="5805488"/>
            <a:ext cx="3672408" cy="504056"/>
            <a:chOff x="2699792" y="4941168"/>
            <a:chExt cx="3672408" cy="504056"/>
          </a:xfrm>
        </p:grpSpPr>
        <p:sp>
          <p:nvSpPr>
            <p:cNvPr id="5" name="Can 4">
              <a:extLst>
                <a:ext uri="{FF2B5EF4-FFF2-40B4-BE49-F238E27FC236}">
                  <a16:creationId xmlns:a16="http://schemas.microsoft.com/office/drawing/2014/main" id="{A6F1A786-F9F1-3BF2-AE9D-1058A0FB3176}"/>
                </a:ext>
              </a:extLst>
            </p:cNvPr>
            <p:cNvSpPr/>
            <p:nvPr/>
          </p:nvSpPr>
          <p:spPr>
            <a:xfrm>
              <a:off x="2699792" y="4941168"/>
              <a:ext cx="3672408" cy="504056"/>
            </a:xfrm>
            <a:prstGeom prst="can">
              <a:avLst/>
            </a:prstGeom>
            <a:solidFill>
              <a:srgbClr val="FCB219"/>
            </a:solidFill>
            <a:ln w="25400" cap="flat" cmpd="sng" algn="ctr">
              <a:solidFill>
                <a:srgbClr val="FCB21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2400" b="1" i="0" u="none" strike="noStrike" kern="0" cap="none" spc="0" normalizeH="0" baseline="0" noProof="0">
                <a:ln w="31550" cmpd="sng">
                  <a:gradFill>
                    <a:gsLst>
                      <a:gs pos="70000">
                        <a:srgbClr val="A8AAAD">
                          <a:shade val="50000"/>
                          <a:satMod val="190000"/>
                        </a:srgbClr>
                      </a:gs>
                      <a:gs pos="0">
                        <a:srgbClr val="A8AAAD">
                          <a:tint val="77000"/>
                          <a:satMod val="180000"/>
                        </a:srgbClr>
                      </a:gs>
                    </a:gsLst>
                    <a:lin ang="5400000"/>
                  </a:gradFill>
                  <a:prstDash val="solid"/>
                </a:ln>
                <a:solidFill>
                  <a:srgbClr val="A8AAAD">
                    <a:tint val="15000"/>
                    <a:satMod val="200000"/>
                  </a:srgb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9F508E-5EBB-0CE9-E7D8-C254566500A6}"/>
                </a:ext>
              </a:extLst>
            </p:cNvPr>
            <p:cNvSpPr txBox="1"/>
            <p:nvPr/>
          </p:nvSpPr>
          <p:spPr>
            <a:xfrm>
              <a:off x="4233732" y="5034948"/>
              <a:ext cx="7200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</a:rPr>
                <a:t>disk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B5CAC8D-407D-7A20-77D7-E5D1AB24557A}"/>
              </a:ext>
            </a:extLst>
          </p:cNvPr>
          <p:cNvGrpSpPr/>
          <p:nvPr/>
        </p:nvGrpSpPr>
        <p:grpSpPr>
          <a:xfrm>
            <a:off x="3306277" y="2133080"/>
            <a:ext cx="360040" cy="3249652"/>
            <a:chOff x="1547664" y="2420888"/>
            <a:chExt cx="360040" cy="324965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4169CB2-60F4-ED64-AC1F-9278B5213BA5}"/>
                </a:ext>
              </a:extLst>
            </p:cNvPr>
            <p:cNvSpPr txBox="1"/>
            <p:nvPr/>
          </p:nvSpPr>
          <p:spPr>
            <a:xfrm>
              <a:off x="1547664" y="53012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6670F0B-F4CA-68E0-A2F0-E2F586949C5B}"/>
                </a:ext>
              </a:extLst>
            </p:cNvPr>
            <p:cNvSpPr txBox="1"/>
            <p:nvPr/>
          </p:nvSpPr>
          <p:spPr>
            <a:xfrm>
              <a:off x="1547664" y="49411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0A1D6DB-C21E-A4FC-ACE6-A4A1BEBD3515}"/>
                </a:ext>
              </a:extLst>
            </p:cNvPr>
            <p:cNvSpPr txBox="1"/>
            <p:nvPr/>
          </p:nvSpPr>
          <p:spPr>
            <a:xfrm>
              <a:off x="1547664" y="45811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876786C-EE62-FD55-28A4-B2C083CC890C}"/>
                </a:ext>
              </a:extLst>
            </p:cNvPr>
            <p:cNvSpPr txBox="1"/>
            <p:nvPr/>
          </p:nvSpPr>
          <p:spPr>
            <a:xfrm>
              <a:off x="1547664" y="314096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3067942-83BF-1A61-5348-DC84C3B7D825}"/>
                </a:ext>
              </a:extLst>
            </p:cNvPr>
            <p:cNvSpPr txBox="1"/>
            <p:nvPr/>
          </p:nvSpPr>
          <p:spPr>
            <a:xfrm>
              <a:off x="1547664" y="278092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5775BAA-EEF9-18B1-2EB5-680E2222A0A5}"/>
                </a:ext>
              </a:extLst>
            </p:cNvPr>
            <p:cNvSpPr txBox="1"/>
            <p:nvPr/>
          </p:nvSpPr>
          <p:spPr>
            <a:xfrm>
              <a:off x="1547664" y="24208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2B434-D5A6-6202-B4E1-BEEBE0A53E68}"/>
                </a:ext>
              </a:extLst>
            </p:cNvPr>
            <p:cNvSpPr txBox="1"/>
            <p:nvPr/>
          </p:nvSpPr>
          <p:spPr>
            <a:xfrm>
              <a:off x="1547664" y="422108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D907597-6548-DB60-55AA-9872BB398971}"/>
                </a:ext>
              </a:extLst>
            </p:cNvPr>
            <p:cNvSpPr txBox="1"/>
            <p:nvPr/>
          </p:nvSpPr>
          <p:spPr>
            <a:xfrm>
              <a:off x="1547664" y="386104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1762AF1-DF27-D957-F7A1-53EC117FDA8A}"/>
                </a:ext>
              </a:extLst>
            </p:cNvPr>
            <p:cNvSpPr txBox="1"/>
            <p:nvPr/>
          </p:nvSpPr>
          <p:spPr>
            <a:xfrm>
              <a:off x="1547664" y="3501008"/>
              <a:ext cx="360040" cy="369332"/>
            </a:xfrm>
            <a:prstGeom prst="rect">
              <a:avLst/>
            </a:prstGeom>
            <a:solidFill>
              <a:srgbClr val="96C45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A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61BBF20-9E6E-C94D-C4D4-0FD5E438147A}"/>
              </a:ext>
            </a:extLst>
          </p:cNvPr>
          <p:cNvGrpSpPr/>
          <p:nvPr/>
        </p:nvGrpSpPr>
        <p:grpSpPr>
          <a:xfrm>
            <a:off x="4962461" y="2133080"/>
            <a:ext cx="360040" cy="3249652"/>
            <a:chOff x="3059832" y="2420888"/>
            <a:chExt cx="360040" cy="324965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C89AF38-FF16-E118-743C-8CFC867B5DDB}"/>
                </a:ext>
              </a:extLst>
            </p:cNvPr>
            <p:cNvSpPr txBox="1"/>
            <p:nvPr/>
          </p:nvSpPr>
          <p:spPr>
            <a:xfrm>
              <a:off x="3059832" y="53012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BEFBF91-2C40-C3D2-E319-D1353FD1367A}"/>
                </a:ext>
              </a:extLst>
            </p:cNvPr>
            <p:cNvSpPr txBox="1"/>
            <p:nvPr/>
          </p:nvSpPr>
          <p:spPr>
            <a:xfrm>
              <a:off x="3059832" y="45811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B8E64C9-54C5-8680-31F7-15B58C6243CD}"/>
                </a:ext>
              </a:extLst>
            </p:cNvPr>
            <p:cNvSpPr txBox="1"/>
            <p:nvPr/>
          </p:nvSpPr>
          <p:spPr>
            <a:xfrm>
              <a:off x="3059832" y="49411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733818C-20F2-B0EF-2472-7D602ABCDA18}"/>
                </a:ext>
              </a:extLst>
            </p:cNvPr>
            <p:cNvSpPr txBox="1"/>
            <p:nvPr/>
          </p:nvSpPr>
          <p:spPr>
            <a:xfrm>
              <a:off x="3059832" y="42210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A44A4DB-C3D7-0E11-334A-C5E7AECDE768}"/>
                </a:ext>
              </a:extLst>
            </p:cNvPr>
            <p:cNvSpPr txBox="1"/>
            <p:nvPr/>
          </p:nvSpPr>
          <p:spPr>
            <a:xfrm>
              <a:off x="3059832" y="350100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74833CD-2F5F-25FF-2694-C028A51906CF}"/>
                </a:ext>
              </a:extLst>
            </p:cNvPr>
            <p:cNvSpPr txBox="1"/>
            <p:nvPr/>
          </p:nvSpPr>
          <p:spPr>
            <a:xfrm>
              <a:off x="3059832" y="386104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8DEFDA7-4BDF-8121-1FAC-2FD02A9730DE}"/>
                </a:ext>
              </a:extLst>
            </p:cNvPr>
            <p:cNvSpPr txBox="1"/>
            <p:nvPr/>
          </p:nvSpPr>
          <p:spPr>
            <a:xfrm>
              <a:off x="3059832" y="314096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E55422A-41E7-155F-E4AC-A732402281E5}"/>
                </a:ext>
              </a:extLst>
            </p:cNvPr>
            <p:cNvSpPr txBox="1"/>
            <p:nvPr/>
          </p:nvSpPr>
          <p:spPr>
            <a:xfrm>
              <a:off x="3059832" y="242088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085ACF-EFED-5E51-3852-D47284831717}"/>
                </a:ext>
              </a:extLst>
            </p:cNvPr>
            <p:cNvSpPr txBox="1"/>
            <p:nvPr/>
          </p:nvSpPr>
          <p:spPr>
            <a:xfrm>
              <a:off x="3059832" y="2780928"/>
              <a:ext cx="360040" cy="369332"/>
            </a:xfrm>
            <a:prstGeom prst="rect">
              <a:avLst/>
            </a:prstGeom>
            <a:solidFill>
              <a:srgbClr val="FCB219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B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2F909AD-D5A0-2604-A67D-493E5E801802}"/>
              </a:ext>
            </a:extLst>
          </p:cNvPr>
          <p:cNvGrpSpPr/>
          <p:nvPr/>
        </p:nvGrpSpPr>
        <p:grpSpPr>
          <a:xfrm>
            <a:off x="6618645" y="2133080"/>
            <a:ext cx="360040" cy="3249652"/>
            <a:chOff x="4932040" y="2492896"/>
            <a:chExt cx="360040" cy="324965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A64EE9C-4252-00D6-C192-16180F7A9A31}"/>
                </a:ext>
              </a:extLst>
            </p:cNvPr>
            <p:cNvSpPr txBox="1"/>
            <p:nvPr/>
          </p:nvSpPr>
          <p:spPr>
            <a:xfrm>
              <a:off x="4932040" y="53732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5BA57C8-9878-4F05-19CE-267AE9457A19}"/>
                </a:ext>
              </a:extLst>
            </p:cNvPr>
            <p:cNvSpPr txBox="1"/>
            <p:nvPr/>
          </p:nvSpPr>
          <p:spPr>
            <a:xfrm>
              <a:off x="4932040" y="50131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55CE22F-C5C5-9A2F-1BD9-46A3824F6722}"/>
                </a:ext>
              </a:extLst>
            </p:cNvPr>
            <p:cNvSpPr txBox="1"/>
            <p:nvPr/>
          </p:nvSpPr>
          <p:spPr>
            <a:xfrm>
              <a:off x="4932040" y="46531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B0DAAA1-1594-05E8-D4CE-651125EDCBB0}"/>
                </a:ext>
              </a:extLst>
            </p:cNvPr>
            <p:cNvSpPr txBox="1"/>
            <p:nvPr/>
          </p:nvSpPr>
          <p:spPr>
            <a:xfrm>
              <a:off x="4932040" y="42930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73A253D-E6F5-ECD1-D16E-8ECE6D3D6917}"/>
                </a:ext>
              </a:extLst>
            </p:cNvPr>
            <p:cNvSpPr txBox="1"/>
            <p:nvPr/>
          </p:nvSpPr>
          <p:spPr>
            <a:xfrm>
              <a:off x="4932040" y="393305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E44169E-8247-C4B4-D4C2-E24B976D868D}"/>
                </a:ext>
              </a:extLst>
            </p:cNvPr>
            <p:cNvSpPr txBox="1"/>
            <p:nvPr/>
          </p:nvSpPr>
          <p:spPr>
            <a:xfrm>
              <a:off x="4932040" y="357301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CD4A035-E6AD-07D1-543D-D440FAE7DE00}"/>
                </a:ext>
              </a:extLst>
            </p:cNvPr>
            <p:cNvSpPr txBox="1"/>
            <p:nvPr/>
          </p:nvSpPr>
          <p:spPr>
            <a:xfrm>
              <a:off x="4932040" y="321297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907FC0B-91AF-A8FE-41E7-C1D078CEBCE7}"/>
                </a:ext>
              </a:extLst>
            </p:cNvPr>
            <p:cNvSpPr txBox="1"/>
            <p:nvPr/>
          </p:nvSpPr>
          <p:spPr>
            <a:xfrm>
              <a:off x="4932040" y="285293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732DD90-2EDD-9733-78FB-8CC0DF5A327B}"/>
                </a:ext>
              </a:extLst>
            </p:cNvPr>
            <p:cNvSpPr txBox="1"/>
            <p:nvPr/>
          </p:nvSpPr>
          <p:spPr>
            <a:xfrm>
              <a:off x="4932040" y="2492896"/>
              <a:ext cx="360040" cy="369332"/>
            </a:xfrm>
            <a:prstGeom prst="rect">
              <a:avLst/>
            </a:prstGeom>
            <a:solidFill>
              <a:srgbClr val="E71F28">
                <a:lumMod val="60000"/>
                <a:lumOff val="40000"/>
              </a:srgbClr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C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BB15466-9087-6E96-00F6-C83F27B1F722}"/>
              </a:ext>
            </a:extLst>
          </p:cNvPr>
          <p:cNvGrpSpPr/>
          <p:nvPr/>
        </p:nvGrpSpPr>
        <p:grpSpPr>
          <a:xfrm>
            <a:off x="8274829" y="2133080"/>
            <a:ext cx="360040" cy="3249652"/>
            <a:chOff x="6516216" y="2492896"/>
            <a:chExt cx="360040" cy="3249652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AE30AB0-ADA5-8BDE-A3AB-F4D9746E5DC2}"/>
                </a:ext>
              </a:extLst>
            </p:cNvPr>
            <p:cNvSpPr txBox="1"/>
            <p:nvPr/>
          </p:nvSpPr>
          <p:spPr>
            <a:xfrm>
              <a:off x="6516216" y="53732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A599C4C-F219-9F87-496E-B60984F9EC21}"/>
                </a:ext>
              </a:extLst>
            </p:cNvPr>
            <p:cNvSpPr txBox="1"/>
            <p:nvPr/>
          </p:nvSpPr>
          <p:spPr>
            <a:xfrm>
              <a:off x="6516216" y="50131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11B0053-6D9E-1CBF-0616-C87C65123DDB}"/>
                </a:ext>
              </a:extLst>
            </p:cNvPr>
            <p:cNvSpPr txBox="1"/>
            <p:nvPr/>
          </p:nvSpPr>
          <p:spPr>
            <a:xfrm>
              <a:off x="6516216" y="46531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DE6FF5C-8A66-0437-71B1-C8DAB47AE50C}"/>
                </a:ext>
              </a:extLst>
            </p:cNvPr>
            <p:cNvSpPr txBox="1"/>
            <p:nvPr/>
          </p:nvSpPr>
          <p:spPr>
            <a:xfrm>
              <a:off x="6516216" y="42930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8FAFCC1-493F-E7E5-FEF2-F22B9A3A3532}"/>
                </a:ext>
              </a:extLst>
            </p:cNvPr>
            <p:cNvSpPr txBox="1"/>
            <p:nvPr/>
          </p:nvSpPr>
          <p:spPr>
            <a:xfrm>
              <a:off x="6516216" y="393305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D7F9428-6D5D-8D1B-20DC-ED7E14F2D497}"/>
                </a:ext>
              </a:extLst>
            </p:cNvPr>
            <p:cNvSpPr txBox="1"/>
            <p:nvPr/>
          </p:nvSpPr>
          <p:spPr>
            <a:xfrm>
              <a:off x="6516216" y="357301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CBD2244-5BAF-0799-5613-9C37AF349E5C}"/>
                </a:ext>
              </a:extLst>
            </p:cNvPr>
            <p:cNvSpPr txBox="1"/>
            <p:nvPr/>
          </p:nvSpPr>
          <p:spPr>
            <a:xfrm>
              <a:off x="6516216" y="321297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4DA1E53-FA4D-B4E1-C0D0-18F0ACC1B95C}"/>
                </a:ext>
              </a:extLst>
            </p:cNvPr>
            <p:cNvSpPr txBox="1"/>
            <p:nvPr/>
          </p:nvSpPr>
          <p:spPr>
            <a:xfrm>
              <a:off x="6516216" y="285293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5C59488-ED1D-E215-1EBC-FC7D235BDBB4}"/>
                </a:ext>
              </a:extLst>
            </p:cNvPr>
            <p:cNvSpPr txBox="1"/>
            <p:nvPr/>
          </p:nvSpPr>
          <p:spPr>
            <a:xfrm>
              <a:off x="6516216" y="2492896"/>
              <a:ext cx="360040" cy="369332"/>
            </a:xfrm>
            <a:prstGeom prst="rect">
              <a:avLst/>
            </a:prstGeom>
            <a:solidFill>
              <a:srgbClr val="FFFF79"/>
            </a:solidFill>
            <a:ln w="25400">
              <a:solidFill>
                <a:srgbClr val="969696"/>
              </a:solidFill>
            </a:ln>
          </p:spPr>
          <p:txBody>
            <a:bodyPr wrap="square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D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77CF24CD-38B2-352F-EC0E-6BE436F6244A}"/>
              </a:ext>
            </a:extLst>
          </p:cNvPr>
          <p:cNvSpPr/>
          <p:nvPr/>
        </p:nvSpPr>
        <p:spPr>
          <a:xfrm flipV="1">
            <a:off x="3162261" y="2061072"/>
            <a:ext cx="648072" cy="3456384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8" name="Right Arrow 54">
            <a:extLst>
              <a:ext uri="{FF2B5EF4-FFF2-40B4-BE49-F238E27FC236}">
                <a16:creationId xmlns:a16="http://schemas.microsoft.com/office/drawing/2014/main" id="{716093B9-70B0-5E6E-D2CC-330A5923DE4E}"/>
              </a:ext>
            </a:extLst>
          </p:cNvPr>
          <p:cNvSpPr/>
          <p:nvPr/>
        </p:nvSpPr>
        <p:spPr>
          <a:xfrm rot="14764633">
            <a:off x="3595695" y="5579804"/>
            <a:ext cx="417406" cy="432048"/>
          </a:xfrm>
          <a:prstGeom prst="rightArrow">
            <a:avLst/>
          </a:prstGeom>
          <a:gradFill rotWithShape="1">
            <a:gsLst>
              <a:gs pos="0">
                <a:srgbClr val="969696">
                  <a:shade val="51000"/>
                  <a:satMod val="130000"/>
                </a:srgbClr>
              </a:gs>
              <a:gs pos="80000">
                <a:srgbClr val="969696">
                  <a:shade val="93000"/>
                  <a:satMod val="130000"/>
                </a:srgbClr>
              </a:gs>
              <a:gs pos="100000">
                <a:srgbClr val="96969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6969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7E1E496-6C03-3232-9547-92F246923F42}"/>
              </a:ext>
            </a:extLst>
          </p:cNvPr>
          <p:cNvSpPr txBox="1"/>
          <p:nvPr/>
        </p:nvSpPr>
        <p:spPr>
          <a:xfrm>
            <a:off x="854506" y="1634099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b="1" dirty="0">
                <a:solidFill>
                  <a:srgbClr val="F47321"/>
                </a:solidFill>
                <a:latin typeface="Segoe UI Light"/>
              </a:rPr>
              <a:t>SELECT A</a:t>
            </a:r>
            <a:br>
              <a:rPr lang="nl-BE" b="1" dirty="0">
                <a:solidFill>
                  <a:srgbClr val="F47321"/>
                </a:solidFill>
                <a:latin typeface="Segoe UI Light"/>
              </a:rPr>
            </a:br>
            <a:r>
              <a:rPr lang="nl-BE" b="1" dirty="0">
                <a:solidFill>
                  <a:srgbClr val="F47321"/>
                </a:solidFill>
                <a:latin typeface="Segoe UI Light"/>
              </a:rPr>
              <a:t>FROM myTable;</a:t>
            </a:r>
          </a:p>
        </p:txBody>
      </p:sp>
    </p:spTree>
    <p:extLst>
      <p:ext uri="{BB962C8B-B14F-4D97-AF65-F5344CB8AC3E}">
        <p14:creationId xmlns:p14="http://schemas.microsoft.com/office/powerpoint/2010/main" val="14422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08403 " pathEditMode="relative" ptsTypes="AA">
                                      <p:cBhvr>
                                        <p:cTn id="1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4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4588" y="2625054"/>
            <a:ext cx="10515600" cy="1607892"/>
          </a:xfrm>
        </p:spPr>
        <p:txBody>
          <a:bodyPr anchor="t">
            <a:normAutofit/>
          </a:bodyPr>
          <a:lstStyle/>
          <a:p>
            <a:r>
              <a:rPr lang="en-US" sz="8800" dirty="0"/>
              <a:t>IT DEPENDS</a:t>
            </a:r>
            <a:endParaRPr lang="nl-BE" sz="8800" dirty="0"/>
          </a:p>
        </p:txBody>
      </p:sp>
    </p:spTree>
    <p:extLst>
      <p:ext uri="{BB962C8B-B14F-4D97-AF65-F5344CB8AC3E}">
        <p14:creationId xmlns:p14="http://schemas.microsoft.com/office/powerpoint/2010/main" val="249766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69FD9-E970-9E44-B666-D429651CF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groups &amp; column segments</a:t>
            </a:r>
            <a:endParaRPr lang="nl-BE" dirty="0"/>
          </a:p>
        </p:txBody>
      </p:sp>
      <p:sp>
        <p:nvSpPr>
          <p:cNvPr id="45" name="Content Placeholder 44">
            <a:extLst>
              <a:ext uri="{FF2B5EF4-FFF2-40B4-BE49-F238E27FC236}">
                <a16:creationId xmlns:a16="http://schemas.microsoft.com/office/drawing/2014/main" id="{B1F81340-D474-9FE7-EDD9-165A754A3F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group of rows compressed</a:t>
            </a:r>
            <a:br>
              <a:rPr lang="en-US" dirty="0"/>
            </a:br>
            <a:r>
              <a:rPr lang="en-US" dirty="0"/>
              <a:t>at the same time</a:t>
            </a:r>
          </a:p>
          <a:p>
            <a:pPr marL="0" indent="0">
              <a:buNone/>
            </a:pPr>
            <a:r>
              <a:rPr lang="en-US" dirty="0"/>
              <a:t>max 1,048,576 row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olumn of data within rowgroup</a:t>
            </a:r>
          </a:p>
          <a:p>
            <a:pPr marL="0" indent="0">
              <a:buNone/>
            </a:pPr>
            <a:r>
              <a:rPr lang="en-US" dirty="0"/>
              <a:t>min/max values are kept</a:t>
            </a:r>
            <a:endParaRPr lang="nl-B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CE7106-1C69-40CF-242D-FCE0AEFC53A7}"/>
              </a:ext>
            </a:extLst>
          </p:cNvPr>
          <p:cNvSpPr txBox="1"/>
          <p:nvPr/>
        </p:nvSpPr>
        <p:spPr>
          <a:xfrm>
            <a:off x="6849408" y="5808138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2C3628-5E46-7F58-5079-BE99FF5D91F1}"/>
              </a:ext>
            </a:extLst>
          </p:cNvPr>
          <p:cNvSpPr txBox="1"/>
          <p:nvPr/>
        </p:nvSpPr>
        <p:spPr>
          <a:xfrm>
            <a:off x="6849408" y="5448098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DC59E7-F2B7-DDC7-9410-8B3F96A260E8}"/>
              </a:ext>
            </a:extLst>
          </p:cNvPr>
          <p:cNvSpPr txBox="1"/>
          <p:nvPr/>
        </p:nvSpPr>
        <p:spPr>
          <a:xfrm>
            <a:off x="6849408" y="5088058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127889-F704-C088-4E40-E1C646E2899C}"/>
              </a:ext>
            </a:extLst>
          </p:cNvPr>
          <p:cNvSpPr txBox="1"/>
          <p:nvPr/>
        </p:nvSpPr>
        <p:spPr>
          <a:xfrm>
            <a:off x="6849408" y="2205593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C28C85-4B38-9415-B64E-3A7C826B353D}"/>
              </a:ext>
            </a:extLst>
          </p:cNvPr>
          <p:cNvSpPr txBox="1"/>
          <p:nvPr/>
        </p:nvSpPr>
        <p:spPr>
          <a:xfrm>
            <a:off x="6849408" y="1845553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B1D8F3-5700-4CA7-B4F5-0D8EE357F75C}"/>
              </a:ext>
            </a:extLst>
          </p:cNvPr>
          <p:cNvSpPr txBox="1"/>
          <p:nvPr/>
        </p:nvSpPr>
        <p:spPr>
          <a:xfrm>
            <a:off x="6849408" y="1485513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93D23E-C196-70F5-E6C2-DA5F294F82F8}"/>
              </a:ext>
            </a:extLst>
          </p:cNvPr>
          <p:cNvSpPr txBox="1"/>
          <p:nvPr/>
        </p:nvSpPr>
        <p:spPr>
          <a:xfrm>
            <a:off x="6849408" y="4728018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FCCB48-17C8-04FC-D097-B86243C827D2}"/>
              </a:ext>
            </a:extLst>
          </p:cNvPr>
          <p:cNvSpPr txBox="1"/>
          <p:nvPr/>
        </p:nvSpPr>
        <p:spPr>
          <a:xfrm>
            <a:off x="6849408" y="2944527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A1193E-4ED7-4171-B9B8-2F728ECB6C12}"/>
              </a:ext>
            </a:extLst>
          </p:cNvPr>
          <p:cNvSpPr txBox="1"/>
          <p:nvPr/>
        </p:nvSpPr>
        <p:spPr>
          <a:xfrm>
            <a:off x="6849408" y="2565633"/>
            <a:ext cx="360040" cy="369332"/>
          </a:xfrm>
          <a:prstGeom prst="rect">
            <a:avLst/>
          </a:prstGeom>
          <a:solidFill>
            <a:srgbClr val="96C45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5E90A4-5D33-FCA2-5FF0-B83B2DB90DD9}"/>
              </a:ext>
            </a:extLst>
          </p:cNvPr>
          <p:cNvSpPr txBox="1"/>
          <p:nvPr/>
        </p:nvSpPr>
        <p:spPr>
          <a:xfrm>
            <a:off x="7383803" y="5808138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EE5F2A-95C0-15D4-C4F1-59BB7BDB972F}"/>
              </a:ext>
            </a:extLst>
          </p:cNvPr>
          <p:cNvSpPr txBox="1"/>
          <p:nvPr/>
        </p:nvSpPr>
        <p:spPr>
          <a:xfrm>
            <a:off x="7383803" y="5088058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7964FD1-A6E3-0E1F-EFE9-182163DE3432}"/>
              </a:ext>
            </a:extLst>
          </p:cNvPr>
          <p:cNvSpPr txBox="1"/>
          <p:nvPr/>
        </p:nvSpPr>
        <p:spPr>
          <a:xfrm>
            <a:off x="7383803" y="5448098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87102C-6D08-4D57-0D45-5064D0113DEA}"/>
              </a:ext>
            </a:extLst>
          </p:cNvPr>
          <p:cNvSpPr txBox="1"/>
          <p:nvPr/>
        </p:nvSpPr>
        <p:spPr>
          <a:xfrm>
            <a:off x="7383803" y="4728018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B5B6FC5-D7A2-C7A8-89F0-3935743F0750}"/>
              </a:ext>
            </a:extLst>
          </p:cNvPr>
          <p:cNvSpPr txBox="1"/>
          <p:nvPr/>
        </p:nvSpPr>
        <p:spPr>
          <a:xfrm>
            <a:off x="7383803" y="2565633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289A021-BEC2-659A-85B7-FA2064BAA9F8}"/>
              </a:ext>
            </a:extLst>
          </p:cNvPr>
          <p:cNvSpPr txBox="1"/>
          <p:nvPr/>
        </p:nvSpPr>
        <p:spPr>
          <a:xfrm>
            <a:off x="7383803" y="4367978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33CE5BE-EE9C-06C2-3709-DFB78A956161}"/>
              </a:ext>
            </a:extLst>
          </p:cNvPr>
          <p:cNvSpPr txBox="1"/>
          <p:nvPr/>
        </p:nvSpPr>
        <p:spPr>
          <a:xfrm>
            <a:off x="7383803" y="2205593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706F9B3-C961-DCEB-71EC-665CC0F2A7F7}"/>
              </a:ext>
            </a:extLst>
          </p:cNvPr>
          <p:cNvSpPr txBox="1"/>
          <p:nvPr/>
        </p:nvSpPr>
        <p:spPr>
          <a:xfrm>
            <a:off x="7383803" y="1485513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A28B878-64B5-4B6D-814C-E28DFFF35C5B}"/>
              </a:ext>
            </a:extLst>
          </p:cNvPr>
          <p:cNvSpPr txBox="1"/>
          <p:nvPr/>
        </p:nvSpPr>
        <p:spPr>
          <a:xfrm>
            <a:off x="7383803" y="1845553"/>
            <a:ext cx="360040" cy="369332"/>
          </a:xfrm>
          <a:prstGeom prst="rect">
            <a:avLst/>
          </a:prstGeom>
          <a:solidFill>
            <a:srgbClr val="FCB219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47FE60-A459-46CB-8871-9BEDB21669D5}"/>
              </a:ext>
            </a:extLst>
          </p:cNvPr>
          <p:cNvSpPr txBox="1"/>
          <p:nvPr/>
        </p:nvSpPr>
        <p:spPr>
          <a:xfrm>
            <a:off x="7918198" y="580813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5EF295-7630-C49F-8189-D6A2CC99FB0D}"/>
              </a:ext>
            </a:extLst>
          </p:cNvPr>
          <p:cNvSpPr txBox="1"/>
          <p:nvPr/>
        </p:nvSpPr>
        <p:spPr>
          <a:xfrm>
            <a:off x="7918198" y="544809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548C6B9-0B2D-7769-3630-EF1775613DE2}"/>
              </a:ext>
            </a:extLst>
          </p:cNvPr>
          <p:cNvSpPr txBox="1"/>
          <p:nvPr/>
        </p:nvSpPr>
        <p:spPr>
          <a:xfrm>
            <a:off x="7918198" y="508805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AB149B-B296-F51C-0AF3-FC4DB39A130F}"/>
              </a:ext>
            </a:extLst>
          </p:cNvPr>
          <p:cNvSpPr txBox="1"/>
          <p:nvPr/>
        </p:nvSpPr>
        <p:spPr>
          <a:xfrm>
            <a:off x="7918198" y="472801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E0E5621-D1CB-9B73-3124-92A48132922C}"/>
              </a:ext>
            </a:extLst>
          </p:cNvPr>
          <p:cNvSpPr txBox="1"/>
          <p:nvPr/>
        </p:nvSpPr>
        <p:spPr>
          <a:xfrm>
            <a:off x="7918198" y="4367978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5585730-D69D-1CC0-1969-07F186C4F09E}"/>
              </a:ext>
            </a:extLst>
          </p:cNvPr>
          <p:cNvSpPr txBox="1"/>
          <p:nvPr/>
        </p:nvSpPr>
        <p:spPr>
          <a:xfrm>
            <a:off x="7918198" y="3979656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DC14D-560B-FE1E-19D1-1FF58D042490}"/>
              </a:ext>
            </a:extLst>
          </p:cNvPr>
          <p:cNvSpPr txBox="1"/>
          <p:nvPr/>
        </p:nvSpPr>
        <p:spPr>
          <a:xfrm>
            <a:off x="7918198" y="2205593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7B4E262-3B5B-06FC-D22C-C3EBF730A479}"/>
              </a:ext>
            </a:extLst>
          </p:cNvPr>
          <p:cNvSpPr txBox="1"/>
          <p:nvPr/>
        </p:nvSpPr>
        <p:spPr>
          <a:xfrm>
            <a:off x="7918198" y="1845553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9096427-C6BE-F83D-1086-72F6C5FDEE5F}"/>
              </a:ext>
            </a:extLst>
          </p:cNvPr>
          <p:cNvSpPr txBox="1"/>
          <p:nvPr/>
        </p:nvSpPr>
        <p:spPr>
          <a:xfrm>
            <a:off x="7918198" y="1485513"/>
            <a:ext cx="360040" cy="369332"/>
          </a:xfrm>
          <a:prstGeom prst="rect">
            <a:avLst/>
          </a:prstGeom>
          <a:solidFill>
            <a:srgbClr val="E71F28">
              <a:lumMod val="60000"/>
              <a:lumOff val="40000"/>
            </a:srgbClr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0A09869-B896-0607-AFFC-F2C6DCEF39C2}"/>
              </a:ext>
            </a:extLst>
          </p:cNvPr>
          <p:cNvSpPr txBox="1"/>
          <p:nvPr/>
        </p:nvSpPr>
        <p:spPr>
          <a:xfrm>
            <a:off x="8452593" y="5808138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BD8CD07-C1FE-0F83-2DA1-FC9F743C0337}"/>
              </a:ext>
            </a:extLst>
          </p:cNvPr>
          <p:cNvSpPr txBox="1"/>
          <p:nvPr/>
        </p:nvSpPr>
        <p:spPr>
          <a:xfrm>
            <a:off x="8452593" y="5448098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E3E9246-B934-E991-237E-7C8B70E85B9A}"/>
              </a:ext>
            </a:extLst>
          </p:cNvPr>
          <p:cNvSpPr txBox="1"/>
          <p:nvPr/>
        </p:nvSpPr>
        <p:spPr>
          <a:xfrm>
            <a:off x="8452593" y="5088058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D41F079-D677-C76A-18AA-857EC7C02A73}"/>
              </a:ext>
            </a:extLst>
          </p:cNvPr>
          <p:cNvSpPr txBox="1"/>
          <p:nvPr/>
        </p:nvSpPr>
        <p:spPr>
          <a:xfrm>
            <a:off x="8452593" y="3304567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805DB47-0EDD-A438-96E8-1D94121186BB}"/>
              </a:ext>
            </a:extLst>
          </p:cNvPr>
          <p:cNvSpPr txBox="1"/>
          <p:nvPr/>
        </p:nvSpPr>
        <p:spPr>
          <a:xfrm>
            <a:off x="8452593" y="2944527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B99CEBE-60B5-715A-2419-98AC764E8E05}"/>
              </a:ext>
            </a:extLst>
          </p:cNvPr>
          <p:cNvSpPr txBox="1"/>
          <p:nvPr/>
        </p:nvSpPr>
        <p:spPr>
          <a:xfrm>
            <a:off x="8452593" y="2565633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CD1FCB9-3650-15AE-303E-421391886EE9}"/>
              </a:ext>
            </a:extLst>
          </p:cNvPr>
          <p:cNvSpPr txBox="1"/>
          <p:nvPr/>
        </p:nvSpPr>
        <p:spPr>
          <a:xfrm>
            <a:off x="8452593" y="2205593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EFEDE8A-5FBD-4E15-28B6-4524ECF136A1}"/>
              </a:ext>
            </a:extLst>
          </p:cNvPr>
          <p:cNvSpPr txBox="1"/>
          <p:nvPr/>
        </p:nvSpPr>
        <p:spPr>
          <a:xfrm>
            <a:off x="8452593" y="1845553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D0B92A4-0512-96DA-A28A-82446D8C7B27}"/>
              </a:ext>
            </a:extLst>
          </p:cNvPr>
          <p:cNvSpPr txBox="1"/>
          <p:nvPr/>
        </p:nvSpPr>
        <p:spPr>
          <a:xfrm>
            <a:off x="8452593" y="1485513"/>
            <a:ext cx="360040" cy="369332"/>
          </a:xfrm>
          <a:prstGeom prst="rect">
            <a:avLst/>
          </a:prstGeom>
          <a:solidFill>
            <a:srgbClr val="FFFF79"/>
          </a:solidFill>
          <a:ln w="25400">
            <a:solidFill>
              <a:srgbClr val="969696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D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C99EFD8-C12B-9283-C3D7-18FA1CC102A8}"/>
              </a:ext>
            </a:extLst>
          </p:cNvPr>
          <p:cNvCxnSpPr/>
          <p:nvPr/>
        </p:nvCxnSpPr>
        <p:spPr>
          <a:xfrm>
            <a:off x="6352319" y="3830165"/>
            <a:ext cx="3280528" cy="0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Right Brace 40">
            <a:extLst>
              <a:ext uri="{FF2B5EF4-FFF2-40B4-BE49-F238E27FC236}">
                <a16:creationId xmlns:a16="http://schemas.microsoft.com/office/drawing/2014/main" id="{3B186DB0-DE71-25CA-591D-8F7FD8ACCCB9}"/>
              </a:ext>
            </a:extLst>
          </p:cNvPr>
          <p:cNvSpPr/>
          <p:nvPr/>
        </p:nvSpPr>
        <p:spPr>
          <a:xfrm>
            <a:off x="9302908" y="1485513"/>
            <a:ext cx="207390" cy="2278664"/>
          </a:xfrm>
          <a:prstGeom prst="rightBrace">
            <a:avLst/>
          </a:prstGeom>
          <a:ln w="28575">
            <a:solidFill>
              <a:srgbClr val="F4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8B76E7B-20B7-126A-ADED-3B671DCF2D2E}"/>
              </a:ext>
            </a:extLst>
          </p:cNvPr>
          <p:cNvSpPr txBox="1"/>
          <p:nvPr/>
        </p:nvSpPr>
        <p:spPr>
          <a:xfrm>
            <a:off x="9458450" y="2304449"/>
            <a:ext cx="189534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 err="1">
                <a:solidFill>
                  <a:srgbClr val="F47321"/>
                </a:solidFill>
              </a:rPr>
              <a:t>rowgroup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3" name="Right Brace 42">
            <a:extLst>
              <a:ext uri="{FF2B5EF4-FFF2-40B4-BE49-F238E27FC236}">
                <a16:creationId xmlns:a16="http://schemas.microsoft.com/office/drawing/2014/main" id="{907EE60C-A5DD-F92E-1708-E4051B3DC805}"/>
              </a:ext>
            </a:extLst>
          </p:cNvPr>
          <p:cNvSpPr/>
          <p:nvPr/>
        </p:nvSpPr>
        <p:spPr>
          <a:xfrm>
            <a:off x="9302908" y="5097349"/>
            <a:ext cx="207390" cy="1101757"/>
          </a:xfrm>
          <a:prstGeom prst="rightBrace">
            <a:avLst/>
          </a:prstGeom>
          <a:ln w="28575">
            <a:solidFill>
              <a:srgbClr val="F4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9A6B420-6B5D-352F-80F7-200AD61FAE14}"/>
              </a:ext>
            </a:extLst>
          </p:cNvPr>
          <p:cNvSpPr txBox="1"/>
          <p:nvPr/>
        </p:nvSpPr>
        <p:spPr>
          <a:xfrm>
            <a:off x="9458450" y="5272982"/>
            <a:ext cx="2615939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BE" sz="2400" dirty="0">
                <a:solidFill>
                  <a:srgbClr val="F47321"/>
                </a:solidFill>
              </a:rPr>
              <a:t>column segment</a:t>
            </a:r>
            <a:endParaRPr lang="en-US" sz="2400" dirty="0" err="1">
              <a:solidFill>
                <a:srgbClr val="F4732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FB305BA-142F-5E1F-003A-20D860E999EA}"/>
              </a:ext>
            </a:extLst>
          </p:cNvPr>
          <p:cNvSpPr txBox="1"/>
          <p:nvPr/>
        </p:nvSpPr>
        <p:spPr>
          <a:xfrm>
            <a:off x="838200" y="6159327"/>
            <a:ext cx="49852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>
                <a:hlinkClick r:id="rId2"/>
              </a:rPr>
              <a:t>https://www.nikoport.com/columnstore/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6942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/>
      <p:bldP spid="43" grpId="0" animBg="1"/>
      <p:bldP spid="44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8226C-19F0-E970-29A3-A1B811B23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recommendations - dim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CC48F0-C1A8-2C82-69DF-EB9BB38F9B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primary key (= clustered index) on the surrogate key</a:t>
            </a:r>
          </a:p>
          <a:p>
            <a:pPr lvl="1"/>
            <a:r>
              <a:rPr lang="en-US" sz="2400" dirty="0"/>
              <a:t>helps with joins from fact table to dimension</a:t>
            </a:r>
          </a:p>
          <a:p>
            <a:pPr lvl="1"/>
            <a:r>
              <a:rPr lang="en-US" sz="2400" dirty="0"/>
              <a:t>allows for quick lookups / updates</a:t>
            </a:r>
          </a:p>
          <a:p>
            <a:endParaRPr lang="en-US" sz="2800" dirty="0"/>
          </a:p>
          <a:p>
            <a:r>
              <a:rPr lang="en-US" sz="2800" dirty="0"/>
              <a:t>unique non-clustered on business key</a:t>
            </a:r>
          </a:p>
          <a:p>
            <a:pPr lvl="1"/>
            <a:r>
              <a:rPr lang="en-US" sz="2400" dirty="0"/>
              <a:t>helps with lookup on BK when trying to match incoming records</a:t>
            </a:r>
          </a:p>
          <a:p>
            <a:pPr lvl="1"/>
            <a:r>
              <a:rPr lang="en-US" sz="2400" dirty="0"/>
              <a:t>in case of SCD Type 2, add </a:t>
            </a:r>
            <a:r>
              <a:rPr lang="en-US" sz="2400" dirty="0" err="1"/>
              <a:t>ValidFrom</a:t>
            </a:r>
            <a:r>
              <a:rPr lang="en-US" sz="2400" dirty="0"/>
              <a:t> column + maybe column to indicate last record</a:t>
            </a:r>
          </a:p>
          <a:p>
            <a:endParaRPr lang="en-US" sz="2800" dirty="0"/>
          </a:p>
          <a:p>
            <a:r>
              <a:rPr lang="en-US" sz="2800" dirty="0"/>
              <a:t>+ any non-clustered index needed for performance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329240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8226C-19F0-E970-29A3-A1B811B23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recommendations - fact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CC48F0-C1A8-2C82-69DF-EB9BB38F9B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primary key (= clustered index) on the (sub) set of surrogate keys that make a fact row unique</a:t>
            </a:r>
          </a:p>
          <a:p>
            <a:pPr lvl="1"/>
            <a:r>
              <a:rPr lang="en-US" sz="2400" dirty="0"/>
              <a:t>not always possible, sometimes you need an identifier such as invoice ID (degenerate dimension)</a:t>
            </a:r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or non-unique clustered index on certain surrogate keys</a:t>
            </a:r>
          </a:p>
          <a:p>
            <a:pPr lvl="1"/>
            <a:r>
              <a:rPr lang="en-US" sz="2400" dirty="0"/>
              <a:t>with potentially unique non-clustered index</a:t>
            </a:r>
          </a:p>
        </p:txBody>
      </p:sp>
    </p:spTree>
    <p:extLst>
      <p:ext uri="{BB962C8B-B14F-4D97-AF65-F5344CB8AC3E}">
        <p14:creationId xmlns:p14="http://schemas.microsoft.com/office/powerpoint/2010/main" val="25930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8226C-19F0-E970-29A3-A1B811B23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recommendations - fact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CC48F0-C1A8-2C82-69DF-EB9BB38F9B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11271738" cy="4719952"/>
          </a:xfrm>
        </p:spPr>
        <p:txBody>
          <a:bodyPr>
            <a:normAutofit/>
          </a:bodyPr>
          <a:lstStyle/>
          <a:p>
            <a:r>
              <a:rPr lang="en-US" sz="2800" dirty="0"/>
              <a:t>almost always SK to date dim is the first column of the index</a:t>
            </a:r>
          </a:p>
          <a:p>
            <a:endParaRPr lang="en-US" sz="2800" dirty="0"/>
          </a:p>
          <a:p>
            <a:r>
              <a:rPr lang="en-US" sz="2800" dirty="0"/>
              <a:t>for large facts: columnstore indexes if DWH is directly queried</a:t>
            </a:r>
          </a:p>
          <a:p>
            <a:endParaRPr lang="en-US" sz="2800" dirty="0"/>
          </a:p>
          <a:p>
            <a:r>
              <a:rPr lang="en-US" sz="2800" dirty="0"/>
              <a:t>+ additional non-clustered indexes for performance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733886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8073C-D49C-D826-15E9-655D3E278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tip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6900BE-C197-A9B1-2FEC-6615A63A42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43050"/>
            <a:ext cx="10515600" cy="4205743"/>
          </a:xfrm>
        </p:spPr>
        <p:txBody>
          <a:bodyPr>
            <a:noAutofit/>
          </a:bodyPr>
          <a:lstStyle/>
          <a:p>
            <a:r>
              <a:rPr lang="en-US" dirty="0"/>
              <a:t>check out missing indexes in query plan</a:t>
            </a:r>
          </a:p>
          <a:p>
            <a:pPr lvl="1"/>
            <a:r>
              <a:rPr lang="en-US" dirty="0"/>
              <a:t>don’t blindly follow it though</a:t>
            </a:r>
            <a:br>
              <a:rPr lang="en-US" dirty="0"/>
            </a:br>
            <a:r>
              <a:rPr lang="en-US" dirty="0"/>
              <a:t>(and don’t forget to rename)</a:t>
            </a:r>
          </a:p>
          <a:p>
            <a:pPr lvl="1"/>
            <a:r>
              <a:rPr lang="en-US" dirty="0" err="1">
                <a:hlinkClick r:id="rId2"/>
              </a:rPr>
              <a:t>sp_blitzindex</a:t>
            </a:r>
            <a:endParaRPr lang="en-US" dirty="0"/>
          </a:p>
          <a:p>
            <a:pPr lvl="1"/>
            <a:r>
              <a:rPr lang="en-US" dirty="0"/>
              <a:t>avoid overlapping/redundant indexes</a:t>
            </a:r>
          </a:p>
          <a:p>
            <a:endParaRPr lang="en-US" dirty="0"/>
          </a:p>
          <a:p>
            <a:r>
              <a:rPr lang="en-US" dirty="0" err="1"/>
              <a:t>SARGable</a:t>
            </a:r>
            <a:r>
              <a:rPr lang="en-US" dirty="0"/>
              <a:t> queries are preferred</a:t>
            </a:r>
          </a:p>
          <a:p>
            <a:r>
              <a:rPr lang="en-US" dirty="0"/>
              <a:t>beware of implicit conversion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make an index covering</a:t>
            </a:r>
          </a:p>
          <a:p>
            <a:pPr lvl="1"/>
            <a:r>
              <a:rPr lang="en-US" dirty="0"/>
              <a:t>avoid bookmark/key lookups</a:t>
            </a:r>
          </a:p>
          <a:p>
            <a:pPr lvl="1"/>
            <a:r>
              <a:rPr lang="en-US" dirty="0"/>
              <a:t>use INCLUDE columns</a:t>
            </a:r>
            <a:endParaRPr lang="nl-BE" dirty="0"/>
          </a:p>
        </p:txBody>
      </p:sp>
      <p:pic>
        <p:nvPicPr>
          <p:cNvPr id="4" name="Picture Placeholder 4">
            <a:extLst>
              <a:ext uri="{FF2B5EF4-FFF2-40B4-BE49-F238E27FC236}">
                <a16:creationId xmlns:a16="http://schemas.microsoft.com/office/drawing/2014/main" id="{FD15C747-56B1-9E75-AFDD-19C1F70C2C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9760" r="9760"/>
          <a:stretch>
            <a:fillRect/>
          </a:stretch>
        </p:blipFill>
        <p:spPr>
          <a:xfrm>
            <a:off x="7227888" y="0"/>
            <a:ext cx="49641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42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00F838-93BD-46A0-9675-42AED121C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13800" dirty="0"/>
              <a:t>DEMO</a:t>
            </a:r>
            <a:endParaRPr lang="nl-BE" sz="138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E0D2489-6A42-4C2F-AC08-FE9B665498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9633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8800" dirty="0"/>
              <a:t>conclusion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97590CD-0F3D-4AE3-84F9-EF84109158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48040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89F0C6-5408-4D92-AAE0-AB4F2660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780BED-E3D6-421F-9392-0C53B486B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here are a few “rules” you can follow</a:t>
            </a:r>
          </a:p>
          <a:p>
            <a:endParaRPr lang="en-US" sz="2800" dirty="0"/>
          </a:p>
          <a:p>
            <a:r>
              <a:rPr lang="en-US" sz="2800" dirty="0"/>
              <a:t>Indexes are magic</a:t>
            </a:r>
          </a:p>
          <a:p>
            <a:endParaRPr lang="en-US" sz="2800" dirty="0"/>
          </a:p>
          <a:p>
            <a:r>
              <a:rPr lang="en-US" sz="2800" dirty="0"/>
              <a:t>Performance tuning can be a dark art</a:t>
            </a:r>
          </a:p>
          <a:p>
            <a:endParaRPr lang="en-US" sz="2800" dirty="0"/>
          </a:p>
          <a:p>
            <a:r>
              <a:rPr lang="en-US" sz="2800" dirty="0"/>
              <a:t>The more practice, the better</a:t>
            </a:r>
            <a:endParaRPr lang="nl-BE" sz="2800" dirty="0"/>
          </a:p>
        </p:txBody>
      </p:sp>
    </p:spTree>
    <p:extLst>
      <p:ext uri="{BB962C8B-B14F-4D97-AF65-F5344CB8AC3E}">
        <p14:creationId xmlns:p14="http://schemas.microsoft.com/office/powerpoint/2010/main" val="17234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89A62-D62C-44A7-A932-A8CFF61D6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DBE023-91DF-46E4-8605-9B11981CD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Performance Tuning Tutorial</a:t>
            </a:r>
            <a:endParaRPr lang="en-US" dirty="0">
              <a:hlinkClick r:id="rId3"/>
            </a:endParaRPr>
          </a:p>
          <a:p>
            <a:r>
              <a:rPr lang="en-US" dirty="0">
                <a:hlinkClick r:id="rId3"/>
              </a:rPr>
              <a:t>First Responder Kit </a:t>
            </a:r>
            <a:r>
              <a:rPr lang="en-US" dirty="0"/>
              <a:t>by Brent </a:t>
            </a:r>
            <a:r>
              <a:rPr lang="en-US" dirty="0" err="1"/>
              <a:t>Ozar</a:t>
            </a:r>
            <a:endParaRPr lang="en-US" dirty="0"/>
          </a:p>
          <a:p>
            <a:r>
              <a:rPr lang="en-US" dirty="0">
                <a:hlinkClick r:id="rId4"/>
              </a:rPr>
              <a:t>How to Think Like the SQL Server Engine</a:t>
            </a:r>
            <a:endParaRPr lang="en-US" dirty="0"/>
          </a:p>
          <a:p>
            <a:r>
              <a:rPr lang="en-US" dirty="0">
                <a:hlinkClick r:id="rId5"/>
              </a:rPr>
              <a:t>Columnstore Index webinar</a:t>
            </a:r>
            <a:endParaRPr lang="en-US" dirty="0"/>
          </a:p>
          <a:p>
            <a:r>
              <a:rPr lang="en-US" dirty="0">
                <a:hlinkClick r:id="rId6"/>
              </a:rPr>
              <a:t>The SQL Server Numbers Table, Explained</a:t>
            </a:r>
            <a:endParaRPr lang="en-US" dirty="0"/>
          </a:p>
          <a:p>
            <a:r>
              <a:rPr lang="en-US" dirty="0">
                <a:hlinkClick r:id="rId7"/>
              </a:rPr>
              <a:t>How to Expand a Range of Dates into Rows</a:t>
            </a:r>
            <a:br>
              <a:rPr lang="en-US" dirty="0">
                <a:hlinkClick r:id="rId7"/>
              </a:rPr>
            </a:br>
            <a:r>
              <a:rPr lang="en-US" dirty="0">
                <a:hlinkClick r:id="rId7"/>
              </a:rPr>
              <a:t>using a SQL Server Numbers Table</a:t>
            </a:r>
            <a:endParaRPr lang="nl-BE" dirty="0"/>
          </a:p>
        </p:txBody>
      </p:sp>
      <p:pic>
        <p:nvPicPr>
          <p:cNvPr id="1026" name="Picture 2" descr="SQL Server Query Tuning and Optimization">
            <a:hlinkClick r:id="rId8"/>
            <a:extLst>
              <a:ext uri="{FF2B5EF4-FFF2-40B4-BE49-F238E27FC236}">
                <a16:creationId xmlns:a16="http://schemas.microsoft.com/office/drawing/2014/main" id="{60D878C8-70C9-37D7-37F5-F5B6469DC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562" y="481582"/>
            <a:ext cx="2478863" cy="306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8BE47CD-060F-64D5-ED4B-363D7AFAA1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58562" y="3621406"/>
            <a:ext cx="1886211" cy="27000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4A11246-A926-B887-8415-302B5342CC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94487" y="3616091"/>
            <a:ext cx="2192559" cy="2705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22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EBAC37-E045-B8D9-7C0D-A60B2919A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?</a:t>
            </a:r>
            <a:endParaRPr lang="nl-BE" dirty="0"/>
          </a:p>
        </p:txBody>
      </p:sp>
      <p:pic>
        <p:nvPicPr>
          <p:cNvPr id="1026" name="Picture 2" descr="Image preview">
            <a:extLst>
              <a:ext uri="{FF2B5EF4-FFF2-40B4-BE49-F238E27FC236}">
                <a16:creationId xmlns:a16="http://schemas.microsoft.com/office/drawing/2014/main" id="{433CCFE1-64A5-6BAA-1E1A-9B298BAAD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969" y="660723"/>
            <a:ext cx="57150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5293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438C280-18FF-0384-486F-258684612E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5597" y="1618035"/>
            <a:ext cx="7279712" cy="3024771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D381E69A-AC57-42AF-43B1-D29CEEE0E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data warehousing scenario </a:t>
            </a:r>
            <a:endParaRPr lang="nl-BE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BCE02E4-3B9F-FD7C-BAF1-FAA07E8CA8B2}"/>
              </a:ext>
            </a:extLst>
          </p:cNvPr>
          <p:cNvCxnSpPr>
            <a:cxnSpLocks/>
          </p:cNvCxnSpPr>
          <p:nvPr/>
        </p:nvCxnSpPr>
        <p:spPr>
          <a:xfrm flipV="1">
            <a:off x="4730207" y="2936448"/>
            <a:ext cx="0" cy="147693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D78691C-5E67-2C3F-3F17-06F58085AAD1}"/>
              </a:ext>
            </a:extLst>
          </p:cNvPr>
          <p:cNvSpPr txBox="1"/>
          <p:nvPr/>
        </p:nvSpPr>
        <p:spPr>
          <a:xfrm>
            <a:off x="3607438" y="4407067"/>
            <a:ext cx="2245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QL in the DWH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EBA2390-F79F-98DD-BDE4-F15AB3BB67DE}"/>
              </a:ext>
            </a:extLst>
          </p:cNvPr>
          <p:cNvCxnSpPr>
            <a:cxnSpLocks/>
          </p:cNvCxnSpPr>
          <p:nvPr/>
        </p:nvCxnSpPr>
        <p:spPr>
          <a:xfrm flipH="1" flipV="1">
            <a:off x="6372809" y="3965511"/>
            <a:ext cx="453882" cy="1104773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D500FD8-3074-C175-0918-48CA31F2EF45}"/>
              </a:ext>
            </a:extLst>
          </p:cNvPr>
          <p:cNvSpPr txBox="1"/>
          <p:nvPr/>
        </p:nvSpPr>
        <p:spPr>
          <a:xfrm>
            <a:off x="5852976" y="5094294"/>
            <a:ext cx="2245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QL in SSIS/ADF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4295C9A-7709-4EC5-DE63-925C91DC0880}"/>
              </a:ext>
            </a:extLst>
          </p:cNvPr>
          <p:cNvCxnSpPr>
            <a:cxnSpLocks/>
          </p:cNvCxnSpPr>
          <p:nvPr/>
        </p:nvCxnSpPr>
        <p:spPr>
          <a:xfrm flipH="1" flipV="1">
            <a:off x="8923176" y="3227045"/>
            <a:ext cx="893326" cy="1134266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24A90C8-2170-1D8D-BB13-EAF37A37C8CD}"/>
              </a:ext>
            </a:extLst>
          </p:cNvPr>
          <p:cNvSpPr txBox="1"/>
          <p:nvPr/>
        </p:nvSpPr>
        <p:spPr>
          <a:xfrm>
            <a:off x="8973634" y="4307950"/>
            <a:ext cx="22455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QL in SSRS/Power BI</a:t>
            </a:r>
            <a:endParaRPr lang="nl-BE" sz="2400" dirty="0">
              <a:solidFill>
                <a:srgbClr val="FF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7F92577-3018-F1F7-A156-998B96DD345D}"/>
              </a:ext>
            </a:extLst>
          </p:cNvPr>
          <p:cNvCxnSpPr>
            <a:cxnSpLocks/>
          </p:cNvCxnSpPr>
          <p:nvPr/>
        </p:nvCxnSpPr>
        <p:spPr>
          <a:xfrm flipH="1" flipV="1">
            <a:off x="7287050" y="2721031"/>
            <a:ext cx="602936" cy="1415761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364A099-CF9F-9208-E574-5246343E5317}"/>
              </a:ext>
            </a:extLst>
          </p:cNvPr>
          <p:cNvSpPr txBox="1"/>
          <p:nvPr/>
        </p:nvSpPr>
        <p:spPr>
          <a:xfrm>
            <a:off x="6767217" y="4130479"/>
            <a:ext cx="22455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SQL in SSA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BC0A19-578F-5A33-0324-681B982BDA46}"/>
              </a:ext>
            </a:extLst>
          </p:cNvPr>
          <p:cNvSpPr txBox="1"/>
          <p:nvPr/>
        </p:nvSpPr>
        <p:spPr>
          <a:xfrm>
            <a:off x="93785" y="6404824"/>
            <a:ext cx="1219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dirty="0"/>
              <a:t>Source: Azure Data Architecture Guide - </a:t>
            </a:r>
            <a:r>
              <a:rPr lang="nl-BE" dirty="0">
                <a:hlinkClick r:id="rId4"/>
              </a:rPr>
              <a:t>https://docs.microsoft.com/en-us/azure/architecture/data-guide/</a:t>
            </a:r>
            <a:endParaRPr lang="nl-BE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FF41F53-5DD5-3DB2-228C-6BDEDA625DC1}"/>
              </a:ext>
            </a:extLst>
          </p:cNvPr>
          <p:cNvSpPr/>
          <p:nvPr/>
        </p:nvSpPr>
        <p:spPr>
          <a:xfrm>
            <a:off x="7202642" y="5491671"/>
            <a:ext cx="771751" cy="83099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FF0000"/>
                </a:solidFill>
              </a:rPr>
              <a:t>1</a:t>
            </a:r>
            <a:endParaRPr lang="nl-BE" sz="2800" dirty="0">
              <a:solidFill>
                <a:srgbClr val="FF0000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556162B-796C-6422-8885-5F77C2DA368C}"/>
              </a:ext>
            </a:extLst>
          </p:cNvPr>
          <p:cNvSpPr/>
          <p:nvPr/>
        </p:nvSpPr>
        <p:spPr>
          <a:xfrm>
            <a:off x="8075725" y="3396257"/>
            <a:ext cx="771751" cy="83099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FF0000"/>
                </a:solidFill>
              </a:rPr>
              <a:t>2</a:t>
            </a:r>
            <a:endParaRPr lang="nl-BE" sz="2800" dirty="0">
              <a:solidFill>
                <a:srgbClr val="FF0000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B967B5D-148C-A1DE-10B1-237C51D766F6}"/>
              </a:ext>
            </a:extLst>
          </p:cNvPr>
          <p:cNvSpPr/>
          <p:nvPr/>
        </p:nvSpPr>
        <p:spPr>
          <a:xfrm>
            <a:off x="9092345" y="5094294"/>
            <a:ext cx="771751" cy="83099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FF0000"/>
                </a:solidFill>
              </a:rPr>
              <a:t>3</a:t>
            </a:r>
            <a:endParaRPr lang="nl-BE" sz="2800" dirty="0">
              <a:solidFill>
                <a:srgbClr val="FF0000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F116575-88F8-042F-4697-95E67CF7B19B}"/>
              </a:ext>
            </a:extLst>
          </p:cNvPr>
          <p:cNvSpPr/>
          <p:nvPr/>
        </p:nvSpPr>
        <p:spPr>
          <a:xfrm>
            <a:off x="2915017" y="4408968"/>
            <a:ext cx="771751" cy="83099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FF0000"/>
                </a:solidFill>
              </a:rPr>
              <a:t>4</a:t>
            </a:r>
            <a:endParaRPr lang="nl-BE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69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5" grpId="0"/>
      <p:bldP spid="17" grpId="0"/>
      <p:bldP spid="2" grpId="0" animBg="1"/>
      <p:bldP spid="3" grpId="0" animBg="1"/>
      <p:bldP spid="4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1352B1-06E4-15A6-5558-B2D9EE741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re not going to talk about…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3BC870-5BCA-B907-924E-881728A96F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Synapse Analytics</a:t>
            </a:r>
          </a:p>
          <a:p>
            <a:pPr lvl="1"/>
            <a:r>
              <a:rPr lang="en-US" sz="2400" dirty="0"/>
              <a:t>SQL Pools  - T-SQL is mainly the same, but distribution is a different beast</a:t>
            </a:r>
          </a:p>
          <a:p>
            <a:pPr lvl="1"/>
            <a:r>
              <a:rPr lang="en-US" sz="2400" dirty="0"/>
              <a:t>Serverless - not actually T-SQL</a:t>
            </a:r>
            <a:br>
              <a:rPr lang="en-US" dirty="0"/>
            </a:br>
            <a:br>
              <a:rPr lang="en-US" dirty="0"/>
            </a:br>
            <a:r>
              <a:rPr lang="en-US" dirty="0">
                <a:hlinkClick r:id="rId2"/>
              </a:rPr>
              <a:t>https://www.youtube.com/c/DataToboggan/videos</a:t>
            </a:r>
            <a:endParaRPr lang="en-US" dirty="0"/>
          </a:p>
          <a:p>
            <a:pPr lvl="1"/>
            <a:endParaRPr lang="en-US" dirty="0"/>
          </a:p>
          <a:p>
            <a:r>
              <a:rPr lang="en-US" sz="2800" dirty="0"/>
              <a:t>Databricks - Spark SQL </a:t>
            </a:r>
            <a:r>
              <a:rPr lang="en-US" sz="2800" dirty="0" err="1"/>
              <a:t>ain’t</a:t>
            </a:r>
            <a:r>
              <a:rPr lang="en-US" sz="2800" dirty="0"/>
              <a:t> T-SQL</a:t>
            </a:r>
          </a:p>
          <a:p>
            <a:r>
              <a:rPr lang="en-US" sz="2800" dirty="0"/>
              <a:t>Streaming</a:t>
            </a:r>
          </a:p>
          <a:p>
            <a:r>
              <a:rPr lang="en-US" sz="2800" dirty="0"/>
              <a:t>Definitely not about U-SQL…</a:t>
            </a:r>
          </a:p>
          <a:p>
            <a:pPr lvl="1"/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4649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0B25E8-65B9-4D76-ABEF-D4D1D4BC2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8800" dirty="0"/>
              <a:t>SSIS</a:t>
            </a:r>
            <a:endParaRPr lang="nl-BE" sz="88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17C0DA-EE0B-488B-A560-7652B6555A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8138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672239D-A9A7-55AD-9BC3-6252C5B3EC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9909B6-E244-428C-E80D-C039BE431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 from database</a:t>
            </a:r>
            <a:endParaRPr lang="nl-B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A2FF71-88DB-9638-01C4-B7A8DF833E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lways write a SQL statement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DO NOT USE THE DROPDOW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o as much calculations in</a:t>
            </a:r>
            <a:br>
              <a:rPr lang="en-US" dirty="0"/>
            </a:br>
            <a:r>
              <a:rPr lang="en-US" dirty="0"/>
              <a:t>the query as possibl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make columns as narrow as</a:t>
            </a:r>
            <a:br>
              <a:rPr lang="en-US" dirty="0"/>
            </a:br>
            <a:r>
              <a:rPr lang="en-US" dirty="0"/>
              <a:t>possible</a:t>
            </a:r>
            <a:endParaRPr lang="nl-BE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0132694-6886-7047-2B55-3D767060BCD9}"/>
              </a:ext>
            </a:extLst>
          </p:cNvPr>
          <p:cNvCxnSpPr>
            <a:cxnSpLocks/>
          </p:cNvCxnSpPr>
          <p:nvPr/>
        </p:nvCxnSpPr>
        <p:spPr>
          <a:xfrm flipV="1">
            <a:off x="6838648" y="4104409"/>
            <a:ext cx="807628" cy="759505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AE96277E-2AE4-6E01-204A-A95251F024CA}"/>
              </a:ext>
            </a:extLst>
          </p:cNvPr>
          <p:cNvSpPr/>
          <p:nvPr/>
        </p:nvSpPr>
        <p:spPr>
          <a:xfrm>
            <a:off x="7242462" y="2631762"/>
            <a:ext cx="3117273" cy="14726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DC59F5-2DA2-F538-1C25-CF6F637C2A48}"/>
              </a:ext>
            </a:extLst>
          </p:cNvPr>
          <p:cNvSpPr txBox="1"/>
          <p:nvPr/>
        </p:nvSpPr>
        <p:spPr>
          <a:xfrm>
            <a:off x="6116780" y="4863914"/>
            <a:ext cx="1529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ALWAY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68C1E7-8A74-717C-6218-596C6D4200ED}"/>
              </a:ext>
            </a:extLst>
          </p:cNvPr>
          <p:cNvSpPr txBox="1"/>
          <p:nvPr/>
        </p:nvSpPr>
        <p:spPr>
          <a:xfrm>
            <a:off x="687530" y="1940036"/>
            <a:ext cx="12192000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900" dirty="0">
                <a:solidFill>
                  <a:srgbClr val="FF0000"/>
                </a:solidFill>
              </a:rPr>
              <a:t>ALWAYS</a:t>
            </a:r>
          </a:p>
        </p:txBody>
      </p:sp>
    </p:spTree>
    <p:extLst>
      <p:ext uri="{BB962C8B-B14F-4D97-AF65-F5344CB8AC3E}">
        <p14:creationId xmlns:p14="http://schemas.microsoft.com/office/powerpoint/2010/main" val="365196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E_PPT_Template_Final</Template>
  <TotalTime>41041</TotalTime>
  <Words>1391</Words>
  <Application>Microsoft Office PowerPoint</Application>
  <PresentationFormat>Widescreen</PresentationFormat>
  <Paragraphs>408</Paragraphs>
  <Slides>59</Slides>
  <Notes>19</Notes>
  <HiddenSlides>6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67" baseType="lpstr">
      <vt:lpstr>Arial</vt:lpstr>
      <vt:lpstr>Calibri</vt:lpstr>
      <vt:lpstr>Century Gothic</vt:lpstr>
      <vt:lpstr>Century Gothic Bold</vt:lpstr>
      <vt:lpstr>Segoe UI Light</vt:lpstr>
      <vt:lpstr>Wingdings</vt:lpstr>
      <vt:lpstr>AE Template</vt:lpstr>
      <vt:lpstr>think-cell Slide</vt:lpstr>
      <vt:lpstr>T-SQL Best Practices &amp; Tuning</vt:lpstr>
      <vt:lpstr>contact</vt:lpstr>
      <vt:lpstr>a quick word about best practices</vt:lpstr>
      <vt:lpstr>PowerPoint Presentation</vt:lpstr>
      <vt:lpstr>IT DEPENDS</vt:lpstr>
      <vt:lpstr>typical data warehousing scenario </vt:lpstr>
      <vt:lpstr>what we’re not going to talk about…</vt:lpstr>
      <vt:lpstr>SSIS</vt:lpstr>
      <vt:lpstr>read from database</vt:lpstr>
      <vt:lpstr>lookup</vt:lpstr>
      <vt:lpstr>lookup</vt:lpstr>
      <vt:lpstr>OLE DB Command</vt:lpstr>
      <vt:lpstr>write to database</vt:lpstr>
      <vt:lpstr>ADF</vt:lpstr>
      <vt:lpstr>Lookup/Copy/Script Activity</vt:lpstr>
      <vt:lpstr>Parallelism FTW</vt:lpstr>
      <vt:lpstr>SSAS / Power BI</vt:lpstr>
      <vt:lpstr>T-SQL is only used to pull data in</vt:lpstr>
      <vt:lpstr>SSRS</vt:lpstr>
      <vt:lpstr>use the Query Luke</vt:lpstr>
      <vt:lpstr>use the Query Luke</vt:lpstr>
      <vt:lpstr>limit parameter values</vt:lpstr>
      <vt:lpstr>use the logs to find bottleneck</vt:lpstr>
      <vt:lpstr>the data warehouse</vt:lpstr>
      <vt:lpstr>a little DBA knowledge…</vt:lpstr>
      <vt:lpstr>recovery models</vt:lpstr>
      <vt:lpstr>database files</vt:lpstr>
      <vt:lpstr>tempdb</vt:lpstr>
      <vt:lpstr>PowerPoint Presentation</vt:lpstr>
      <vt:lpstr>and what about Azure SQL DB?</vt:lpstr>
      <vt:lpstr>data warehouse design</vt:lpstr>
      <vt:lpstr>STAR SCHEMA ALL THE THINGS</vt:lpstr>
      <vt:lpstr>dimensions</vt:lpstr>
      <vt:lpstr>facts</vt:lpstr>
      <vt:lpstr>facts</vt:lpstr>
      <vt:lpstr>PowerPoint Presentation</vt:lpstr>
      <vt:lpstr>staging tables</vt:lpstr>
      <vt:lpstr>let’s talk about SQL</vt:lpstr>
      <vt:lpstr>tips &amp; tricks for the SELECT statement</vt:lpstr>
      <vt:lpstr>this is not Oracle</vt:lpstr>
      <vt:lpstr>avoid user-defined functions</vt:lpstr>
      <vt:lpstr>DEMO</vt:lpstr>
      <vt:lpstr>what if your SQL is slow?</vt:lpstr>
      <vt:lpstr>PowerPoint Presentation</vt:lpstr>
      <vt:lpstr>clustered index</vt:lpstr>
      <vt:lpstr>non-clustered index</vt:lpstr>
      <vt:lpstr>columnstore index</vt:lpstr>
      <vt:lpstr>columnstore</vt:lpstr>
      <vt:lpstr>columnstore</vt:lpstr>
      <vt:lpstr>rowgroups &amp; column segments</vt:lpstr>
      <vt:lpstr>index recommendations - dim</vt:lpstr>
      <vt:lpstr>index recommendations - fact</vt:lpstr>
      <vt:lpstr>index recommendations - fact</vt:lpstr>
      <vt:lpstr>index tips</vt:lpstr>
      <vt:lpstr>DEMO</vt:lpstr>
      <vt:lpstr>conclusion</vt:lpstr>
      <vt:lpstr>conclusion</vt:lpstr>
      <vt:lpstr>resources</vt:lpstr>
      <vt:lpstr>Feedback?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en Verbeeck</dc:creator>
  <cp:lastModifiedBy>Koen Verbeeck</cp:lastModifiedBy>
  <cp:revision>4</cp:revision>
  <dcterms:created xsi:type="dcterms:W3CDTF">2022-03-23T19:03:51Z</dcterms:created>
  <dcterms:modified xsi:type="dcterms:W3CDTF">2022-10-05T08:36:13Z</dcterms:modified>
</cp:coreProperties>
</file>